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</p:sldMasterIdLst>
  <p:notesMasterIdLst>
    <p:notesMasterId r:id="rId5"/>
  </p:notesMasterIdLst>
  <p:sldIdLst>
    <p:sldId id="285" r:id="rId2"/>
    <p:sldId id="262" r:id="rId3"/>
    <p:sldId id="269" r:id="rId4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59595"/>
    <a:srgbClr val="00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193A23C-2F6C-4FFD-BFB7-5746B6FA049E}" v="5" dt="2025-02-09T19:24:02.15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739" autoAdjust="0"/>
    <p:restoredTop sz="92354" autoAdjust="0"/>
  </p:normalViewPr>
  <p:slideViewPr>
    <p:cSldViewPr snapToGrid="0">
      <p:cViewPr>
        <p:scale>
          <a:sx n="90" d="100"/>
          <a:sy n="90" d="100"/>
        </p:scale>
        <p:origin x="276" y="-4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notesMaster" Target="notesMasters/notesMaster1.xml"/><Relationship Id="rId10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n K" userId="d066db4a5de46abf" providerId="LiveId" clId="{3193A23C-2F6C-4FFD-BFB7-5746B6FA049E}"/>
    <pc:docChg chg="custSel addSld modSld">
      <pc:chgData name="Jan K" userId="d066db4a5de46abf" providerId="LiveId" clId="{3193A23C-2F6C-4FFD-BFB7-5746B6FA049E}" dt="2025-02-10T18:21:42.277" v="108" actId="21"/>
      <pc:docMkLst>
        <pc:docMk/>
      </pc:docMkLst>
      <pc:sldChg chg="addSp delSp modSp add mod">
        <pc:chgData name="Jan K" userId="d066db4a5de46abf" providerId="LiveId" clId="{3193A23C-2F6C-4FFD-BFB7-5746B6FA049E}" dt="2025-02-10T18:21:42.277" v="108" actId="21"/>
        <pc:sldMkLst>
          <pc:docMk/>
          <pc:sldMk cId="353483281" sldId="284"/>
        </pc:sldMkLst>
        <pc:spChg chg="add del mod">
          <ac:chgData name="Jan K" userId="d066db4a5de46abf" providerId="LiveId" clId="{3193A23C-2F6C-4FFD-BFB7-5746B6FA049E}" dt="2025-02-10T18:21:42.277" v="108" actId="21"/>
          <ac:spMkLst>
            <pc:docMk/>
            <pc:sldMk cId="353483281" sldId="284"/>
            <ac:spMk id="2" creationId="{472CA2E5-B8C5-36CB-EF41-14C82BE71659}"/>
          </ac:spMkLst>
        </pc:spChg>
        <pc:spChg chg="del">
          <ac:chgData name="Jan K" userId="d066db4a5de46abf" providerId="LiveId" clId="{3193A23C-2F6C-4FFD-BFB7-5746B6FA049E}" dt="2025-02-09T19:22:56.180" v="34" actId="478"/>
          <ac:spMkLst>
            <pc:docMk/>
            <pc:sldMk cId="353483281" sldId="284"/>
            <ac:spMk id="9" creationId="{68DC3099-DF3B-A480-8BA9-D1344DDD1F17}"/>
          </ac:spMkLst>
        </pc:spChg>
        <pc:spChg chg="del">
          <ac:chgData name="Jan K" userId="d066db4a5de46abf" providerId="LiveId" clId="{3193A23C-2F6C-4FFD-BFB7-5746B6FA049E}" dt="2025-02-09T19:22:40.308" v="31" actId="478"/>
          <ac:spMkLst>
            <pc:docMk/>
            <pc:sldMk cId="353483281" sldId="284"/>
            <ac:spMk id="11" creationId="{B1B91CAE-B9AF-58D6-3F53-45CD0B83F456}"/>
          </ac:spMkLst>
        </pc:spChg>
        <pc:spChg chg="del">
          <ac:chgData name="Jan K" userId="d066db4a5de46abf" providerId="LiveId" clId="{3193A23C-2F6C-4FFD-BFB7-5746B6FA049E}" dt="2025-02-09T19:22:40.308" v="31" actId="478"/>
          <ac:spMkLst>
            <pc:docMk/>
            <pc:sldMk cId="353483281" sldId="284"/>
            <ac:spMk id="13" creationId="{D4E440FF-A3FE-3866-40C3-4F93519AA611}"/>
          </ac:spMkLst>
        </pc:spChg>
        <pc:spChg chg="del">
          <ac:chgData name="Jan K" userId="d066db4a5de46abf" providerId="LiveId" clId="{3193A23C-2F6C-4FFD-BFB7-5746B6FA049E}" dt="2025-02-09T19:22:40.308" v="31" actId="478"/>
          <ac:spMkLst>
            <pc:docMk/>
            <pc:sldMk cId="353483281" sldId="284"/>
            <ac:spMk id="14" creationId="{34CD1A77-9E8C-09F7-7599-CB00F31941B8}"/>
          </ac:spMkLst>
        </pc:spChg>
        <pc:spChg chg="del">
          <ac:chgData name="Jan K" userId="d066db4a5de46abf" providerId="LiveId" clId="{3193A23C-2F6C-4FFD-BFB7-5746B6FA049E}" dt="2025-02-09T19:22:17.608" v="12" actId="478"/>
          <ac:spMkLst>
            <pc:docMk/>
            <pc:sldMk cId="353483281" sldId="284"/>
            <ac:spMk id="15" creationId="{688DD7E0-BAFB-E054-6D64-219E3FE0CAB0}"/>
          </ac:spMkLst>
        </pc:spChg>
        <pc:spChg chg="del mod">
          <ac:chgData name="Jan K" userId="d066db4a5de46abf" providerId="LiveId" clId="{3193A23C-2F6C-4FFD-BFB7-5746B6FA049E}" dt="2025-02-10T18:21:42.277" v="108" actId="21"/>
          <ac:spMkLst>
            <pc:docMk/>
            <pc:sldMk cId="353483281" sldId="284"/>
            <ac:spMk id="16" creationId="{CCE9B312-7803-9D4D-D9D3-C490A0CB33A8}"/>
          </ac:spMkLst>
        </pc:spChg>
        <pc:spChg chg="del">
          <ac:chgData name="Jan K" userId="d066db4a5de46abf" providerId="LiveId" clId="{3193A23C-2F6C-4FFD-BFB7-5746B6FA049E}" dt="2025-02-09T19:23:00.985" v="36" actId="478"/>
          <ac:spMkLst>
            <pc:docMk/>
            <pc:sldMk cId="353483281" sldId="284"/>
            <ac:spMk id="17" creationId="{13BBE278-A5CE-0DBF-3C0C-142038D98902}"/>
          </ac:spMkLst>
        </pc:spChg>
        <pc:spChg chg="del">
          <ac:chgData name="Jan K" userId="d066db4a5de46abf" providerId="LiveId" clId="{3193A23C-2F6C-4FFD-BFB7-5746B6FA049E}" dt="2025-02-09T19:23:06.854" v="38" actId="478"/>
          <ac:spMkLst>
            <pc:docMk/>
            <pc:sldMk cId="353483281" sldId="284"/>
            <ac:spMk id="18" creationId="{30952693-B838-8AE1-643F-09D72A49B24B}"/>
          </ac:spMkLst>
        </pc:spChg>
        <pc:spChg chg="add del mod">
          <ac:chgData name="Jan K" userId="d066db4a5de46abf" providerId="LiveId" clId="{3193A23C-2F6C-4FFD-BFB7-5746B6FA049E}" dt="2025-02-10T18:21:42.277" v="108" actId="21"/>
          <ac:spMkLst>
            <pc:docMk/>
            <pc:sldMk cId="353483281" sldId="284"/>
            <ac:spMk id="20" creationId="{406ADC72-23FE-1223-B6E6-9DC149E6A798}"/>
          </ac:spMkLst>
        </pc:spChg>
        <pc:spChg chg="del">
          <ac:chgData name="Jan K" userId="d066db4a5de46abf" providerId="LiveId" clId="{3193A23C-2F6C-4FFD-BFB7-5746B6FA049E}" dt="2025-02-09T19:22:45.740" v="32" actId="478"/>
          <ac:spMkLst>
            <pc:docMk/>
            <pc:sldMk cId="353483281" sldId="284"/>
            <ac:spMk id="34" creationId="{A0CF1373-1AF8-0D82-EBB0-47840F2415DA}"/>
          </ac:spMkLst>
        </pc:spChg>
        <pc:spChg chg="del">
          <ac:chgData name="Jan K" userId="d066db4a5de46abf" providerId="LiveId" clId="{3193A23C-2F6C-4FFD-BFB7-5746B6FA049E}" dt="2025-02-09T19:22:48.715" v="33" actId="478"/>
          <ac:spMkLst>
            <pc:docMk/>
            <pc:sldMk cId="353483281" sldId="284"/>
            <ac:spMk id="35" creationId="{F119916F-F417-067D-3043-2E2A00402D00}"/>
          </ac:spMkLst>
        </pc:spChg>
        <pc:spChg chg="del">
          <ac:chgData name="Jan K" userId="d066db4a5de46abf" providerId="LiveId" clId="{3193A23C-2F6C-4FFD-BFB7-5746B6FA049E}" dt="2025-02-09T19:22:48.715" v="33" actId="478"/>
          <ac:spMkLst>
            <pc:docMk/>
            <pc:sldMk cId="353483281" sldId="284"/>
            <ac:spMk id="37" creationId="{7FAA73EF-FAF0-0785-C51B-DAD0C94DFC14}"/>
          </ac:spMkLst>
        </pc:spChg>
        <pc:spChg chg="del">
          <ac:chgData name="Jan K" userId="d066db4a5de46abf" providerId="LiveId" clId="{3193A23C-2F6C-4FFD-BFB7-5746B6FA049E}" dt="2025-02-09T19:22:48.715" v="33" actId="478"/>
          <ac:spMkLst>
            <pc:docMk/>
            <pc:sldMk cId="353483281" sldId="284"/>
            <ac:spMk id="39" creationId="{0B5013E2-94CF-1606-6EEC-82C34B329EB1}"/>
          </ac:spMkLst>
        </pc:spChg>
        <pc:spChg chg="del">
          <ac:chgData name="Jan K" userId="d066db4a5de46abf" providerId="LiveId" clId="{3193A23C-2F6C-4FFD-BFB7-5746B6FA049E}" dt="2025-02-09T19:22:48.715" v="33" actId="478"/>
          <ac:spMkLst>
            <pc:docMk/>
            <pc:sldMk cId="353483281" sldId="284"/>
            <ac:spMk id="40" creationId="{44DEA935-B578-E4F1-A72C-710F1F02E28E}"/>
          </ac:spMkLst>
        </pc:spChg>
        <pc:spChg chg="del">
          <ac:chgData name="Jan K" userId="d066db4a5de46abf" providerId="LiveId" clId="{3193A23C-2F6C-4FFD-BFB7-5746B6FA049E}" dt="2025-02-09T19:22:48.715" v="33" actId="478"/>
          <ac:spMkLst>
            <pc:docMk/>
            <pc:sldMk cId="353483281" sldId="284"/>
            <ac:spMk id="45" creationId="{FEC1CB63-81F1-253E-4BEF-02811EC619AA}"/>
          </ac:spMkLst>
        </pc:spChg>
        <pc:spChg chg="del">
          <ac:chgData name="Jan K" userId="d066db4a5de46abf" providerId="LiveId" clId="{3193A23C-2F6C-4FFD-BFB7-5746B6FA049E}" dt="2025-02-09T19:22:48.715" v="33" actId="478"/>
          <ac:spMkLst>
            <pc:docMk/>
            <pc:sldMk cId="353483281" sldId="284"/>
            <ac:spMk id="46" creationId="{EE5D90BB-0E91-7CAB-D57B-2EB3E70EA956}"/>
          </ac:spMkLst>
        </pc:spChg>
        <pc:spChg chg="del">
          <ac:chgData name="Jan K" userId="d066db4a5de46abf" providerId="LiveId" clId="{3193A23C-2F6C-4FFD-BFB7-5746B6FA049E}" dt="2025-02-09T19:22:48.715" v="33" actId="478"/>
          <ac:spMkLst>
            <pc:docMk/>
            <pc:sldMk cId="353483281" sldId="284"/>
            <ac:spMk id="49" creationId="{F70FFEB2-4FEF-57DB-0177-B19E813B84B4}"/>
          </ac:spMkLst>
        </pc:spChg>
        <pc:spChg chg="del">
          <ac:chgData name="Jan K" userId="d066db4a5de46abf" providerId="LiveId" clId="{3193A23C-2F6C-4FFD-BFB7-5746B6FA049E}" dt="2025-02-09T19:22:40.308" v="31" actId="478"/>
          <ac:spMkLst>
            <pc:docMk/>
            <pc:sldMk cId="353483281" sldId="284"/>
            <ac:spMk id="50" creationId="{1B18B82A-E308-978B-A56B-80590FCF3226}"/>
          </ac:spMkLst>
        </pc:spChg>
        <pc:spChg chg="del">
          <ac:chgData name="Jan K" userId="d066db4a5de46abf" providerId="LiveId" clId="{3193A23C-2F6C-4FFD-BFB7-5746B6FA049E}" dt="2025-02-09T19:22:40.308" v="31" actId="478"/>
          <ac:spMkLst>
            <pc:docMk/>
            <pc:sldMk cId="353483281" sldId="284"/>
            <ac:spMk id="52" creationId="{976E5CF9-3116-DC62-ECB3-F6171C3982E2}"/>
          </ac:spMkLst>
        </pc:spChg>
        <pc:spChg chg="del">
          <ac:chgData name="Jan K" userId="d066db4a5de46abf" providerId="LiveId" clId="{3193A23C-2F6C-4FFD-BFB7-5746B6FA049E}" dt="2025-02-09T19:22:40.308" v="31" actId="478"/>
          <ac:spMkLst>
            <pc:docMk/>
            <pc:sldMk cId="353483281" sldId="284"/>
            <ac:spMk id="53" creationId="{605B0339-88D3-0723-C70A-7E2576327D3C}"/>
          </ac:spMkLst>
        </pc:spChg>
        <pc:spChg chg="del">
          <ac:chgData name="Jan K" userId="d066db4a5de46abf" providerId="LiveId" clId="{3193A23C-2F6C-4FFD-BFB7-5746B6FA049E}" dt="2025-02-09T19:22:40.308" v="31" actId="478"/>
          <ac:spMkLst>
            <pc:docMk/>
            <pc:sldMk cId="353483281" sldId="284"/>
            <ac:spMk id="54" creationId="{F0A692CF-AC3C-632F-2688-6DD0EBA1897C}"/>
          </ac:spMkLst>
        </pc:spChg>
        <pc:grpChg chg="del mod">
          <ac:chgData name="Jan K" userId="d066db4a5de46abf" providerId="LiveId" clId="{3193A23C-2F6C-4FFD-BFB7-5746B6FA049E}" dt="2025-02-10T18:21:42.277" v="108" actId="21"/>
          <ac:grpSpMkLst>
            <pc:docMk/>
            <pc:sldMk cId="353483281" sldId="284"/>
            <ac:grpSpMk id="6" creationId="{DF36D47C-C268-E8E3-38E9-ED6FBE9909E8}"/>
          </ac:grpSpMkLst>
        </pc:grpChg>
        <pc:picChg chg="del">
          <ac:chgData name="Jan K" userId="d066db4a5de46abf" providerId="LiveId" clId="{3193A23C-2F6C-4FFD-BFB7-5746B6FA049E}" dt="2025-02-10T18:21:42.277" v="108" actId="21"/>
          <ac:picMkLst>
            <pc:docMk/>
            <pc:sldMk cId="353483281" sldId="284"/>
            <ac:picMk id="5" creationId="{17DF26B1-DBF9-CF50-0459-5397E5A5ADC8}"/>
          </ac:picMkLst>
        </pc:picChg>
        <pc:picChg chg="del">
          <ac:chgData name="Jan K" userId="d066db4a5de46abf" providerId="LiveId" clId="{3193A23C-2F6C-4FFD-BFB7-5746B6FA049E}" dt="2025-02-09T19:23:07.704" v="39" actId="478"/>
          <ac:picMkLst>
            <pc:docMk/>
            <pc:sldMk cId="353483281" sldId="284"/>
            <ac:picMk id="2050" creationId="{06A512EE-4806-257A-4129-001D3793141E}"/>
          </ac:picMkLst>
        </pc:picChg>
        <pc:cxnChg chg="add del mod">
          <ac:chgData name="Jan K" userId="d066db4a5de46abf" providerId="LiveId" clId="{3193A23C-2F6C-4FFD-BFB7-5746B6FA049E}" dt="2025-02-10T18:21:42.277" v="108" actId="21"/>
          <ac:cxnSpMkLst>
            <pc:docMk/>
            <pc:sldMk cId="353483281" sldId="284"/>
            <ac:cxnSpMk id="4" creationId="{332D7397-19D5-0A45-D0A0-79B8A9DD0C95}"/>
          </ac:cxnSpMkLst>
        </pc:cxnChg>
        <pc:cxnChg chg="del">
          <ac:chgData name="Jan K" userId="d066db4a5de46abf" providerId="LiveId" clId="{3193A23C-2F6C-4FFD-BFB7-5746B6FA049E}" dt="2025-02-09T19:22:40.308" v="31" actId="478"/>
          <ac:cxnSpMkLst>
            <pc:docMk/>
            <pc:sldMk cId="353483281" sldId="284"/>
            <ac:cxnSpMk id="10" creationId="{E8EAAEFB-695D-34F5-75E8-395FA7143C40}"/>
          </ac:cxnSpMkLst>
        </pc:cxnChg>
        <pc:cxnChg chg="del">
          <ac:chgData name="Jan K" userId="d066db4a5de46abf" providerId="LiveId" clId="{3193A23C-2F6C-4FFD-BFB7-5746B6FA049E}" dt="2025-02-09T19:22:40.308" v="31" actId="478"/>
          <ac:cxnSpMkLst>
            <pc:docMk/>
            <pc:sldMk cId="353483281" sldId="284"/>
            <ac:cxnSpMk id="12" creationId="{806F9FC8-5CF7-DFA6-E8D9-74F21B5C077E}"/>
          </ac:cxnSpMkLst>
        </pc:cxnChg>
        <pc:cxnChg chg="add del mod">
          <ac:chgData name="Jan K" userId="d066db4a5de46abf" providerId="LiveId" clId="{3193A23C-2F6C-4FFD-BFB7-5746B6FA049E}" dt="2025-02-10T18:21:42.277" v="108" actId="21"/>
          <ac:cxnSpMkLst>
            <pc:docMk/>
            <pc:sldMk cId="353483281" sldId="284"/>
            <ac:cxnSpMk id="19" creationId="{78C00D1A-F04E-EE72-A9B7-96C17D66A539}"/>
          </ac:cxnSpMkLst>
        </pc:cxnChg>
        <pc:cxnChg chg="del">
          <ac:chgData name="Jan K" userId="d066db4a5de46abf" providerId="LiveId" clId="{3193A23C-2F6C-4FFD-BFB7-5746B6FA049E}" dt="2025-02-09T19:22:48.715" v="33" actId="478"/>
          <ac:cxnSpMkLst>
            <pc:docMk/>
            <pc:sldMk cId="353483281" sldId="284"/>
            <ac:cxnSpMk id="38" creationId="{1C1E727C-1119-D935-23FC-306CB00125F4}"/>
          </ac:cxnSpMkLst>
        </pc:cxnChg>
        <pc:cxnChg chg="del">
          <ac:chgData name="Jan K" userId="d066db4a5de46abf" providerId="LiveId" clId="{3193A23C-2F6C-4FFD-BFB7-5746B6FA049E}" dt="2025-02-09T19:22:48.715" v="33" actId="478"/>
          <ac:cxnSpMkLst>
            <pc:docMk/>
            <pc:sldMk cId="353483281" sldId="284"/>
            <ac:cxnSpMk id="44" creationId="{6996D895-EF8B-2B1B-9F4C-642ECFC884B4}"/>
          </ac:cxnSpMkLst>
        </pc:cxnChg>
        <pc:cxnChg chg="del">
          <ac:chgData name="Jan K" userId="d066db4a5de46abf" providerId="LiveId" clId="{3193A23C-2F6C-4FFD-BFB7-5746B6FA049E}" dt="2025-02-09T19:22:40.308" v="31" actId="478"/>
          <ac:cxnSpMkLst>
            <pc:docMk/>
            <pc:sldMk cId="353483281" sldId="284"/>
            <ac:cxnSpMk id="51" creationId="{C015ADD1-C185-44A7-E71B-5BF12689A547}"/>
          </ac:cxnSpMkLst>
        </pc:cxnChg>
      </pc:sldChg>
    </pc:docChg>
  </pc:docChgLst>
  <pc:docChgLst>
    <pc:chgData name="Jan K" userId="d066db4a5de46abf" providerId="LiveId" clId="{B1733AD1-BED1-4C71-B004-3296BFE0AA74}"/>
    <pc:docChg chg="undo custSel addSld delSld modSld">
      <pc:chgData name="Jan K" userId="d066db4a5de46abf" providerId="LiveId" clId="{B1733AD1-BED1-4C71-B004-3296BFE0AA74}" dt="2024-12-04T22:52:27.700" v="787" actId="20577"/>
      <pc:docMkLst>
        <pc:docMk/>
      </pc:docMkLst>
      <pc:sldChg chg="del">
        <pc:chgData name="Jan K" userId="d066db4a5de46abf" providerId="LiveId" clId="{B1733AD1-BED1-4C71-B004-3296BFE0AA74}" dt="2024-12-04T22:46:31.007" v="775" actId="47"/>
        <pc:sldMkLst>
          <pc:docMk/>
          <pc:sldMk cId="3849049774" sldId="259"/>
        </pc:sldMkLst>
      </pc:sldChg>
      <pc:sldChg chg="modSp mod">
        <pc:chgData name="Jan K" userId="d066db4a5de46abf" providerId="LiveId" clId="{B1733AD1-BED1-4C71-B004-3296BFE0AA74}" dt="2024-11-01T22:25:40.516" v="131" actId="1076"/>
        <pc:sldMkLst>
          <pc:docMk/>
          <pc:sldMk cId="3437032930" sldId="265"/>
        </pc:sldMkLst>
        <pc:spChg chg="mod">
          <ac:chgData name="Jan K" userId="d066db4a5de46abf" providerId="LiveId" clId="{B1733AD1-BED1-4C71-B004-3296BFE0AA74}" dt="2024-11-01T22:25:40.516" v="131" actId="1076"/>
          <ac:spMkLst>
            <pc:docMk/>
            <pc:sldMk cId="3437032930" sldId="265"/>
            <ac:spMk id="14" creationId="{327694EA-98CB-C5F1-F8AC-1BA737957912}"/>
          </ac:spMkLst>
        </pc:spChg>
      </pc:sldChg>
      <pc:sldChg chg="addSp delSp modSp mod">
        <pc:chgData name="Jan K" userId="d066db4a5de46abf" providerId="LiveId" clId="{B1733AD1-BED1-4C71-B004-3296BFE0AA74}" dt="2024-11-02T10:52:06.926" v="452" actId="14100"/>
        <pc:sldMkLst>
          <pc:docMk/>
          <pc:sldMk cId="2745595283" sldId="266"/>
        </pc:sldMkLst>
        <pc:spChg chg="add mod">
          <ac:chgData name="Jan K" userId="d066db4a5de46abf" providerId="LiveId" clId="{B1733AD1-BED1-4C71-B004-3296BFE0AA74}" dt="2024-11-01T22:32:23.469" v="193" actId="1076"/>
          <ac:spMkLst>
            <pc:docMk/>
            <pc:sldMk cId="2745595283" sldId="266"/>
            <ac:spMk id="7" creationId="{E72E89F1-DE3E-DF08-C531-06E33C3A207B}"/>
          </ac:spMkLst>
        </pc:spChg>
        <pc:spChg chg="add mod">
          <ac:chgData name="Jan K" userId="d066db4a5de46abf" providerId="LiveId" clId="{B1733AD1-BED1-4C71-B004-3296BFE0AA74}" dt="2024-11-01T22:18:51.959" v="51" actId="164"/>
          <ac:spMkLst>
            <pc:docMk/>
            <pc:sldMk cId="2745595283" sldId="266"/>
            <ac:spMk id="8" creationId="{B75D0647-E9F8-6A05-52E5-6F4C181F9F27}"/>
          </ac:spMkLst>
        </pc:spChg>
        <pc:spChg chg="add mod">
          <ac:chgData name="Jan K" userId="d066db4a5de46abf" providerId="LiveId" clId="{B1733AD1-BED1-4C71-B004-3296BFE0AA74}" dt="2024-11-01T22:18:51.959" v="51" actId="164"/>
          <ac:spMkLst>
            <pc:docMk/>
            <pc:sldMk cId="2745595283" sldId="266"/>
            <ac:spMk id="9" creationId="{9436D166-A256-9792-0029-DB2C8D8039BF}"/>
          </ac:spMkLst>
        </pc:spChg>
        <pc:spChg chg="add mod">
          <ac:chgData name="Jan K" userId="d066db4a5de46abf" providerId="LiveId" clId="{B1733AD1-BED1-4C71-B004-3296BFE0AA74}" dt="2024-11-01T22:18:51.959" v="51" actId="164"/>
          <ac:spMkLst>
            <pc:docMk/>
            <pc:sldMk cId="2745595283" sldId="266"/>
            <ac:spMk id="10" creationId="{A91E7A4A-0C47-3F95-D04F-8306EC8D95E3}"/>
          </ac:spMkLst>
        </pc:spChg>
        <pc:spChg chg="add mod">
          <ac:chgData name="Jan K" userId="d066db4a5de46abf" providerId="LiveId" clId="{B1733AD1-BED1-4C71-B004-3296BFE0AA74}" dt="2024-11-01T22:18:51.959" v="51" actId="164"/>
          <ac:spMkLst>
            <pc:docMk/>
            <pc:sldMk cId="2745595283" sldId="266"/>
            <ac:spMk id="11" creationId="{7E4657F3-59ED-710B-6C65-26C6B4123D96}"/>
          </ac:spMkLst>
        </pc:spChg>
        <pc:spChg chg="add mod ord">
          <ac:chgData name="Jan K" userId="d066db4a5de46abf" providerId="LiveId" clId="{B1733AD1-BED1-4C71-B004-3296BFE0AA74}" dt="2024-11-01T22:22:58.517" v="97" actId="164"/>
          <ac:spMkLst>
            <pc:docMk/>
            <pc:sldMk cId="2745595283" sldId="266"/>
            <ac:spMk id="12" creationId="{365DED4A-26DB-4CA2-8A00-0B44A0975413}"/>
          </ac:spMkLst>
        </pc:spChg>
        <pc:spChg chg="add mod ord">
          <ac:chgData name="Jan K" userId="d066db4a5de46abf" providerId="LiveId" clId="{B1733AD1-BED1-4C71-B004-3296BFE0AA74}" dt="2024-11-01T22:22:58.517" v="97" actId="164"/>
          <ac:spMkLst>
            <pc:docMk/>
            <pc:sldMk cId="2745595283" sldId="266"/>
            <ac:spMk id="14" creationId="{BD3152CC-AC8E-8578-E0A3-EBBD23C4EC1C}"/>
          </ac:spMkLst>
        </pc:spChg>
        <pc:spChg chg="add mod ord">
          <ac:chgData name="Jan K" userId="d066db4a5de46abf" providerId="LiveId" clId="{B1733AD1-BED1-4C71-B004-3296BFE0AA74}" dt="2024-11-01T22:22:58.517" v="97" actId="164"/>
          <ac:spMkLst>
            <pc:docMk/>
            <pc:sldMk cId="2745595283" sldId="266"/>
            <ac:spMk id="15" creationId="{A75DCE3E-B512-0911-D64E-DC963A4F7C8B}"/>
          </ac:spMkLst>
        </pc:spChg>
        <pc:spChg chg="add mod ord">
          <ac:chgData name="Jan K" userId="d066db4a5de46abf" providerId="LiveId" clId="{B1733AD1-BED1-4C71-B004-3296BFE0AA74}" dt="2024-11-01T22:22:58.517" v="97" actId="164"/>
          <ac:spMkLst>
            <pc:docMk/>
            <pc:sldMk cId="2745595283" sldId="266"/>
            <ac:spMk id="16" creationId="{AD7AA7B9-2305-4DB6-1AD0-362FB942274A}"/>
          </ac:spMkLst>
        </pc:spChg>
        <pc:spChg chg="mod">
          <ac:chgData name="Jan K" userId="d066db4a5de46abf" providerId="LiveId" clId="{B1733AD1-BED1-4C71-B004-3296BFE0AA74}" dt="2024-11-01T22:44:27.700" v="267" actId="17032"/>
          <ac:spMkLst>
            <pc:docMk/>
            <pc:sldMk cId="2745595283" sldId="266"/>
            <ac:spMk id="19" creationId="{3A4E6725-765B-96E7-4425-6C7F25A3904E}"/>
          </ac:spMkLst>
        </pc:spChg>
        <pc:spChg chg="mod">
          <ac:chgData name="Jan K" userId="d066db4a5de46abf" providerId="LiveId" clId="{B1733AD1-BED1-4C71-B004-3296BFE0AA74}" dt="2024-11-01T22:44:25.570" v="266" actId="17032"/>
          <ac:spMkLst>
            <pc:docMk/>
            <pc:sldMk cId="2745595283" sldId="266"/>
            <ac:spMk id="20" creationId="{1B6190EE-E9D9-F693-BBFD-4E2C85BAEB7F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1" creationId="{DA72060B-362D-6F44-5ED9-1F043BA8AC99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2" creationId="{94CC3569-7952-7F68-EA3E-5A844134158E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4" creationId="{43B2CF6D-B9C3-AF21-65B8-7EDEE2045733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5" creationId="{2AFA8B74-FF28-414D-E05D-57AFA96CF8EB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6" creationId="{81BF3C83-FF82-878B-211F-88DCFFF48B14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7" creationId="{FF14F6D2-3211-2FF3-805B-02216D1FF3F8}"/>
          </ac:spMkLst>
        </pc:spChg>
        <pc:spChg chg="add mod">
          <ac:chgData name="Jan K" userId="d066db4a5de46abf" providerId="LiveId" clId="{B1733AD1-BED1-4C71-B004-3296BFE0AA74}" dt="2024-11-01T22:44:20.771" v="265" actId="14100"/>
          <ac:spMkLst>
            <pc:docMk/>
            <pc:sldMk cId="2745595283" sldId="266"/>
            <ac:spMk id="28" creationId="{C41DDC22-07A0-A55C-BE12-E26E3AADCA32}"/>
          </ac:spMkLst>
        </pc:spChg>
        <pc:spChg chg="add mod">
          <ac:chgData name="Jan K" userId="d066db4a5de46abf" providerId="LiveId" clId="{B1733AD1-BED1-4C71-B004-3296BFE0AA74}" dt="2024-11-01T22:50:41.046" v="326" actId="207"/>
          <ac:spMkLst>
            <pc:docMk/>
            <pc:sldMk cId="2745595283" sldId="266"/>
            <ac:spMk id="29" creationId="{4B8192C7-671A-12AB-97BE-1AFA51162F32}"/>
          </ac:spMkLst>
        </pc:spChg>
        <pc:spChg chg="del mod">
          <ac:chgData name="Jan K" userId="d066db4a5de46abf" providerId="LiveId" clId="{B1733AD1-BED1-4C71-B004-3296BFE0AA74}" dt="2024-11-01T22:27:25.660" v="140" actId="478"/>
          <ac:spMkLst>
            <pc:docMk/>
            <pc:sldMk cId="2745595283" sldId="266"/>
            <ac:spMk id="31" creationId="{1B6D537E-40E4-3C5E-5655-3A60119EF6A0}"/>
          </ac:spMkLst>
        </pc:spChg>
        <pc:spChg chg="mod">
          <ac:chgData name="Jan K" userId="d066db4a5de46abf" providerId="LiveId" clId="{B1733AD1-BED1-4C71-B004-3296BFE0AA74}" dt="2024-11-01T22:27:18.115" v="136" actId="207"/>
          <ac:spMkLst>
            <pc:docMk/>
            <pc:sldMk cId="2745595283" sldId="266"/>
            <ac:spMk id="32" creationId="{019256F8-97A7-20B9-D492-2CDDA5D69A04}"/>
          </ac:spMkLst>
        </pc:spChg>
        <pc:spChg chg="mod">
          <ac:chgData name="Jan K" userId="d066db4a5de46abf" providerId="LiveId" clId="{B1733AD1-BED1-4C71-B004-3296BFE0AA74}" dt="2024-11-01T22:27:32.511" v="141" actId="207"/>
          <ac:spMkLst>
            <pc:docMk/>
            <pc:sldMk cId="2745595283" sldId="266"/>
            <ac:spMk id="33" creationId="{743E542C-9184-D64C-5B3D-DA4BF39AB90A}"/>
          </ac:spMkLst>
        </pc:spChg>
        <pc:spChg chg="mod">
          <ac:chgData name="Jan K" userId="d066db4a5de46abf" providerId="LiveId" clId="{B1733AD1-BED1-4C71-B004-3296BFE0AA74}" dt="2024-11-01T22:27:04.809" v="134"/>
          <ac:spMkLst>
            <pc:docMk/>
            <pc:sldMk cId="2745595283" sldId="266"/>
            <ac:spMk id="34" creationId="{A3B2DFB6-C3CD-BDE7-70C3-62CE3D59F581}"/>
          </ac:spMkLst>
        </pc:spChg>
        <pc:spChg chg="del mod">
          <ac:chgData name="Jan K" userId="d066db4a5de46abf" providerId="LiveId" clId="{B1733AD1-BED1-4C71-B004-3296BFE0AA74}" dt="2024-11-01T22:27:20.513" v="137" actId="478"/>
          <ac:spMkLst>
            <pc:docMk/>
            <pc:sldMk cId="2745595283" sldId="266"/>
            <ac:spMk id="36" creationId="{3F00AEE9-2A47-324C-8B06-B8D40048BBCC}"/>
          </ac:spMkLst>
        </pc:spChg>
        <pc:spChg chg="mod">
          <ac:chgData name="Jan K" userId="d066db4a5de46abf" providerId="LiveId" clId="{B1733AD1-BED1-4C71-B004-3296BFE0AA74}" dt="2024-11-01T22:27:04.809" v="134"/>
          <ac:spMkLst>
            <pc:docMk/>
            <pc:sldMk cId="2745595283" sldId="266"/>
            <ac:spMk id="37" creationId="{AFAC5F3D-2D0B-47B9-D832-D6B1B5E1E8D9}"/>
          </ac:spMkLst>
        </pc:spChg>
        <pc:spChg chg="mod">
          <ac:chgData name="Jan K" userId="d066db4a5de46abf" providerId="LiveId" clId="{B1733AD1-BED1-4C71-B004-3296BFE0AA74}" dt="2024-11-01T22:27:04.809" v="134"/>
          <ac:spMkLst>
            <pc:docMk/>
            <pc:sldMk cId="2745595283" sldId="266"/>
            <ac:spMk id="38" creationId="{AD3D8E47-F322-57C3-2543-E804C4E73BB7}"/>
          </ac:spMkLst>
        </pc:spChg>
        <pc:spChg chg="mod">
          <ac:chgData name="Jan K" userId="d066db4a5de46abf" providerId="LiveId" clId="{B1733AD1-BED1-4C71-B004-3296BFE0AA74}" dt="2024-11-01T22:27:04.809" v="134"/>
          <ac:spMkLst>
            <pc:docMk/>
            <pc:sldMk cId="2745595283" sldId="266"/>
            <ac:spMk id="39" creationId="{AD36A598-7C77-9AD7-92DE-13E52B5C691D}"/>
          </ac:spMkLst>
        </pc:spChg>
        <pc:spChg chg="add mod">
          <ac:chgData name="Jan K" userId="d066db4a5de46abf" providerId="LiveId" clId="{B1733AD1-BED1-4C71-B004-3296BFE0AA74}" dt="2024-11-02T10:49:59.031" v="414" actId="1076"/>
          <ac:spMkLst>
            <pc:docMk/>
            <pc:sldMk cId="2745595283" sldId="266"/>
            <ac:spMk id="41" creationId="{0D22C06A-7224-CD9C-9EE3-4F59CE27D349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1" creationId="{4415C96F-6F03-35DB-55ED-873F3BE58275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2" creationId="{4F506482-6940-F94B-305C-1076D8D4FD6B}"/>
          </ac:spMkLst>
        </pc:spChg>
        <pc:spChg chg="add mod">
          <ac:chgData name="Jan K" userId="d066db4a5de46abf" providerId="LiveId" clId="{B1733AD1-BED1-4C71-B004-3296BFE0AA74}" dt="2024-11-02T10:51:06.175" v="447" actId="1076"/>
          <ac:spMkLst>
            <pc:docMk/>
            <pc:sldMk cId="2745595283" sldId="266"/>
            <ac:spMk id="42" creationId="{8D6BFA15-8565-B90E-E8A7-96408EC2DF2D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3" creationId="{1FA4C156-F9F0-7706-4988-810000F430D8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5" creationId="{192508FF-F418-F7DB-5B14-4E0686836471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6" creationId="{6ACCB09B-F92B-2C0F-9A1E-D145B33638D9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7" creationId="{C9B78A28-6841-B33F-FFC7-8B7EF3B1D69D}"/>
          </ac:spMkLst>
        </pc:spChg>
        <pc:spChg chg="mod">
          <ac:chgData name="Jan K" userId="d066db4a5de46abf" providerId="LiveId" clId="{B1733AD1-BED1-4C71-B004-3296BFE0AA74}" dt="2024-11-01T22:28:09.284" v="151" actId="207"/>
          <ac:spMkLst>
            <pc:docMk/>
            <pc:sldMk cId="2745595283" sldId="266"/>
            <ac:spMk id="49" creationId="{20E65A85-A9E4-1629-D8A4-235BFC1E987C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0" creationId="{7C5D3898-5AC5-9D50-DE41-F7EBA5BB6EE0}"/>
          </ac:spMkLst>
        </pc:spChg>
        <pc:spChg chg="mod">
          <ac:chgData name="Jan K" userId="d066db4a5de46abf" providerId="LiveId" clId="{B1733AD1-BED1-4C71-B004-3296BFE0AA74}" dt="2024-11-01T22:28:04.439" v="149" actId="207"/>
          <ac:spMkLst>
            <pc:docMk/>
            <pc:sldMk cId="2745595283" sldId="266"/>
            <ac:spMk id="51" creationId="{7E67AEB6-DAD0-46EB-016C-953B8A4C4442}"/>
          </ac:spMkLst>
        </pc:spChg>
        <pc:spChg chg="mod">
          <ac:chgData name="Jan K" userId="d066db4a5de46abf" providerId="LiveId" clId="{B1733AD1-BED1-4C71-B004-3296BFE0AA74}" dt="2024-11-01T22:28:13.157" v="152" actId="207"/>
          <ac:spMkLst>
            <pc:docMk/>
            <pc:sldMk cId="2745595283" sldId="266"/>
            <ac:spMk id="52" creationId="{32BA937B-1859-3EF0-C301-7E57132857FF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4" creationId="{FD942769-47C7-19B4-3C8C-1B211460B8FB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5" creationId="{CEFC531A-A8A2-DB67-5637-CBACD444207D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6" creationId="{59B63754-D51B-9A09-F2A7-9FEF0F608E70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7" creationId="{95035C39-CED8-83C8-A3DA-DDF95F08C8CE}"/>
          </ac:spMkLst>
        </pc:spChg>
        <pc:spChg chg="add mod">
          <ac:chgData name="Jan K" userId="d066db4a5de46abf" providerId="LiveId" clId="{B1733AD1-BED1-4C71-B004-3296BFE0AA74}" dt="2024-11-01T22:49:17.856" v="301" actId="1076"/>
          <ac:spMkLst>
            <pc:docMk/>
            <pc:sldMk cId="2745595283" sldId="266"/>
            <ac:spMk id="59" creationId="{B7F0CB44-35CE-366A-D4CB-5E5575129DD6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68" creationId="{CE97F6DB-2568-671E-220A-3194ED9E12AC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69" creationId="{A0412251-57CF-AB45-320B-4561D3549322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0" creationId="{54064BC7-45BC-E569-8C2D-20B1C21417AD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1" creationId="{0BE0DF51-3C5B-F531-E249-E82C2887A379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3" creationId="{3272FDCE-A722-05C0-4DF7-0F4E0834DE09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4" creationId="{BE02EFDC-9968-8FD4-5E05-EF9940A72257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5" creationId="{73577D34-4178-99E9-19E2-462EFF30642F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6" creationId="{84614F9C-D1D7-299B-AF0B-66D1E715D5D5}"/>
          </ac:spMkLst>
        </pc:spChg>
        <pc:spChg chg="mod">
          <ac:chgData name="Jan K" userId="d066db4a5de46abf" providerId="LiveId" clId="{B1733AD1-BED1-4C71-B004-3296BFE0AA74}" dt="2024-11-01T22:51:09.711" v="330" actId="1076"/>
          <ac:spMkLst>
            <pc:docMk/>
            <pc:sldMk cId="2745595283" sldId="266"/>
            <ac:spMk id="2078" creationId="{B8F9347A-0F34-638C-982B-88A8C8C4D9B7}"/>
          </ac:spMkLst>
        </pc:spChg>
        <pc:spChg chg="del mod">
          <ac:chgData name="Jan K" userId="d066db4a5de46abf" providerId="LiveId" clId="{B1733AD1-BED1-4C71-B004-3296BFE0AA74}" dt="2024-11-01T22:48:52.672" v="297" actId="478"/>
          <ac:spMkLst>
            <pc:docMk/>
            <pc:sldMk cId="2745595283" sldId="266"/>
            <ac:spMk id="2079" creationId="{591DC60B-35D8-0B1C-EE63-85F36C85D95C}"/>
          </ac:spMkLst>
        </pc:spChg>
        <pc:spChg chg="del mod">
          <ac:chgData name="Jan K" userId="d066db4a5de46abf" providerId="LiveId" clId="{B1733AD1-BED1-4C71-B004-3296BFE0AA74}" dt="2024-11-01T22:48:42.047" v="293" actId="478"/>
          <ac:spMkLst>
            <pc:docMk/>
            <pc:sldMk cId="2745595283" sldId="266"/>
            <ac:spMk id="2080" creationId="{C8C8D864-F327-D730-D53A-F5C4A8912268}"/>
          </ac:spMkLst>
        </pc:spChg>
        <pc:spChg chg="mod">
          <ac:chgData name="Jan K" userId="d066db4a5de46abf" providerId="LiveId" clId="{B1733AD1-BED1-4C71-B004-3296BFE0AA74}" dt="2024-11-01T22:48:15.759" v="292" actId="207"/>
          <ac:spMkLst>
            <pc:docMk/>
            <pc:sldMk cId="2745595283" sldId="266"/>
            <ac:spMk id="2081" creationId="{D5C2618F-A279-A777-FF35-ACB8596E995E}"/>
          </ac:spMkLst>
        </pc:spChg>
        <pc:spChg chg="mod">
          <ac:chgData name="Jan K" userId="d066db4a5de46abf" providerId="LiveId" clId="{B1733AD1-BED1-4C71-B004-3296BFE0AA74}" dt="2024-11-01T22:51:09.711" v="330" actId="1076"/>
          <ac:spMkLst>
            <pc:docMk/>
            <pc:sldMk cId="2745595283" sldId="266"/>
            <ac:spMk id="2083" creationId="{E1238188-43A5-A98D-039C-777279018ECF}"/>
          </ac:spMkLst>
        </pc:spChg>
        <pc:spChg chg="del mod">
          <ac:chgData name="Jan K" userId="d066db4a5de46abf" providerId="LiveId" clId="{B1733AD1-BED1-4C71-B004-3296BFE0AA74}" dt="2024-11-01T22:48:46.385" v="295" actId="478"/>
          <ac:spMkLst>
            <pc:docMk/>
            <pc:sldMk cId="2745595283" sldId="266"/>
            <ac:spMk id="2084" creationId="{0E7CCFA9-19E3-1ED5-0264-B078A7733F5E}"/>
          </ac:spMkLst>
        </pc:spChg>
        <pc:spChg chg="del mod">
          <ac:chgData name="Jan K" userId="d066db4a5de46abf" providerId="LiveId" clId="{B1733AD1-BED1-4C71-B004-3296BFE0AA74}" dt="2024-11-01T22:48:44.454" v="294" actId="478"/>
          <ac:spMkLst>
            <pc:docMk/>
            <pc:sldMk cId="2745595283" sldId="266"/>
            <ac:spMk id="2085" creationId="{28EA1906-E128-BF53-0981-3730B1E50A11}"/>
          </ac:spMkLst>
        </pc:spChg>
        <pc:spChg chg="mod">
          <ac:chgData name="Jan K" userId="d066db4a5de46abf" providerId="LiveId" clId="{B1733AD1-BED1-4C71-B004-3296BFE0AA74}" dt="2024-11-01T22:44:37.655" v="268"/>
          <ac:spMkLst>
            <pc:docMk/>
            <pc:sldMk cId="2745595283" sldId="266"/>
            <ac:spMk id="2086" creationId="{0C957B10-D175-686E-4E9E-9C24D733B1F2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4" creationId="{55C15780-C646-E753-8728-8A910A584D28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5" creationId="{587521D3-B567-17A8-AE58-89A84733E9DC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6" creationId="{A0D9FE08-638E-A84C-DEC2-1F4F7D3A8AA8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7" creationId="{A7208FF8-25CE-FF95-7FD2-60F8B555F344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9" creationId="{9E243B49-B5B8-3D53-9391-7E25DFFF5FCD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20" creationId="{6800161B-3C29-D2CC-C652-996A12AF1A87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21" creationId="{FD4FAF56-12B6-2C0A-3B3A-D3B2EC48CA9C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22" creationId="{B8D9E695-2912-13E8-7889-3406CD5E2BA2}"/>
          </ac:spMkLst>
        </pc:spChg>
        <pc:spChg chg="add 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23" creationId="{95633BF5-1D02-D96E-757E-450D16056520}"/>
          </ac:spMkLst>
        </pc:spChg>
        <pc:spChg chg="mod">
          <ac:chgData name="Jan K" userId="d066db4a5de46abf" providerId="LiveId" clId="{B1733AD1-BED1-4C71-B004-3296BFE0AA74}" dt="2024-11-01T23:00:29.956" v="384" actId="207"/>
          <ac:spMkLst>
            <pc:docMk/>
            <pc:sldMk cId="2745595283" sldId="266"/>
            <ac:spMk id="2139" creationId="{2AD9E10B-DA0C-EECD-E13B-C39AF5912B3C}"/>
          </ac:spMkLst>
        </pc:spChg>
        <pc:spChg chg="mod">
          <ac:chgData name="Jan K" userId="d066db4a5de46abf" providerId="LiveId" clId="{B1733AD1-BED1-4C71-B004-3296BFE0AA74}" dt="2024-11-01T23:00:25.897" v="383" actId="207"/>
          <ac:spMkLst>
            <pc:docMk/>
            <pc:sldMk cId="2745595283" sldId="266"/>
            <ac:spMk id="2140" creationId="{65CB9C60-8AE0-851B-702B-5FE829EEEFC4}"/>
          </ac:spMkLst>
        </pc:spChg>
        <pc:spChg chg="mod">
          <ac:chgData name="Jan K" userId="d066db4a5de46abf" providerId="LiveId" clId="{B1733AD1-BED1-4C71-B004-3296BFE0AA74}" dt="2024-11-01T23:00:14.927" v="381"/>
          <ac:spMkLst>
            <pc:docMk/>
            <pc:sldMk cId="2745595283" sldId="266"/>
            <ac:spMk id="2141" creationId="{F6601568-687E-8C3F-670F-02CED37F3EDE}"/>
          </ac:spMkLst>
        </pc:spChg>
        <pc:spChg chg="mod">
          <ac:chgData name="Jan K" userId="d066db4a5de46abf" providerId="LiveId" clId="{B1733AD1-BED1-4C71-B004-3296BFE0AA74}" dt="2024-11-01T23:00:14.927" v="381"/>
          <ac:spMkLst>
            <pc:docMk/>
            <pc:sldMk cId="2745595283" sldId="266"/>
            <ac:spMk id="2143" creationId="{8B71310B-3377-CC20-64D0-E1E5BF7B19FC}"/>
          </ac:spMkLst>
        </pc:spChg>
        <pc:spChg chg="mod">
          <ac:chgData name="Jan K" userId="d066db4a5de46abf" providerId="LiveId" clId="{B1733AD1-BED1-4C71-B004-3296BFE0AA74}" dt="2024-11-01T23:00:14.927" v="381"/>
          <ac:spMkLst>
            <pc:docMk/>
            <pc:sldMk cId="2745595283" sldId="266"/>
            <ac:spMk id="2144" creationId="{7879D1F5-09B0-992C-D234-0EC54A6D34F6}"/>
          </ac:spMkLst>
        </pc:spChg>
        <pc:spChg chg="mod">
          <ac:chgData name="Jan K" userId="d066db4a5de46abf" providerId="LiveId" clId="{B1733AD1-BED1-4C71-B004-3296BFE0AA74}" dt="2024-11-01T23:00:14.927" v="381"/>
          <ac:spMkLst>
            <pc:docMk/>
            <pc:sldMk cId="2745595283" sldId="266"/>
            <ac:spMk id="2145" creationId="{B31813D3-CD97-7928-5678-14A8AF6820F8}"/>
          </ac:spMkLst>
        </pc:spChg>
        <pc:grpChg chg="add mod">
          <ac:chgData name="Jan K" userId="d066db4a5de46abf" providerId="LiveId" clId="{B1733AD1-BED1-4C71-B004-3296BFE0AA74}" dt="2024-11-01T22:22:58.517" v="97" actId="164"/>
          <ac:grpSpMkLst>
            <pc:docMk/>
            <pc:sldMk cId="2745595283" sldId="266"/>
            <ac:grpSpMk id="13" creationId="{6D5CF2C5-A8A7-6044-330A-4D952ECE69C5}"/>
          </ac:grpSpMkLst>
        </pc:grpChg>
        <pc:grpChg chg="add mod">
          <ac:chgData name="Jan K" userId="d066db4a5de46abf" providerId="LiveId" clId="{B1733AD1-BED1-4C71-B004-3296BFE0AA74}" dt="2024-11-01T22:28:53.638" v="159" actId="1076"/>
          <ac:grpSpMkLst>
            <pc:docMk/>
            <pc:sldMk cId="2745595283" sldId="266"/>
            <ac:grpSpMk id="17" creationId="{28E1B3BC-B84A-487C-2416-D2E1290FF478}"/>
          </ac:grpSpMkLst>
        </pc:grpChg>
        <pc:grpChg chg="add mod">
          <ac:chgData name="Jan K" userId="d066db4a5de46abf" providerId="LiveId" clId="{B1733AD1-BED1-4C71-B004-3296BFE0AA74}" dt="2024-11-01T22:29:09.062" v="160" actId="1076"/>
          <ac:grpSpMkLst>
            <pc:docMk/>
            <pc:sldMk cId="2745595283" sldId="266"/>
            <ac:grpSpMk id="18" creationId="{4D3739A8-6735-04AB-D5BE-38E29C9260CE}"/>
          </ac:grpSpMkLst>
        </pc:grpChg>
        <pc:grpChg chg="mod">
          <ac:chgData name="Jan K" userId="d066db4a5de46abf" providerId="LiveId" clId="{B1733AD1-BED1-4C71-B004-3296BFE0AA74}" dt="2024-11-01T22:23:08.264" v="98"/>
          <ac:grpSpMkLst>
            <pc:docMk/>
            <pc:sldMk cId="2745595283" sldId="266"/>
            <ac:grpSpMk id="23" creationId="{399F1B54-0AAE-C650-09EF-D196DD25DE2A}"/>
          </ac:grpSpMkLst>
        </pc:grpChg>
        <pc:grpChg chg="add del mod">
          <ac:chgData name="Jan K" userId="d066db4a5de46abf" providerId="LiveId" clId="{B1733AD1-BED1-4C71-B004-3296BFE0AA74}" dt="2024-11-01T23:05:42.626" v="393" actId="1076"/>
          <ac:grpSpMkLst>
            <pc:docMk/>
            <pc:sldMk cId="2745595283" sldId="266"/>
            <ac:grpSpMk id="30" creationId="{6371556F-5419-FF68-A148-F1684B6D8705}"/>
          </ac:grpSpMkLst>
        </pc:grpChg>
        <pc:grpChg chg="mod">
          <ac:chgData name="Jan K" userId="d066db4a5de46abf" providerId="LiveId" clId="{B1733AD1-BED1-4C71-B004-3296BFE0AA74}" dt="2024-11-01T22:27:04.809" v="134"/>
          <ac:grpSpMkLst>
            <pc:docMk/>
            <pc:sldMk cId="2745595283" sldId="266"/>
            <ac:grpSpMk id="35" creationId="{A7AE47DF-F4DA-1800-7386-DBC762AE23DA}"/>
          </ac:grpSpMkLst>
        </pc:grpChg>
        <pc:grpChg chg="add del mod">
          <ac:chgData name="Jan K" userId="d066db4a5de46abf" providerId="LiveId" clId="{B1733AD1-BED1-4C71-B004-3296BFE0AA74}" dt="2024-11-01T22:27:46.316" v="145" actId="478"/>
          <ac:grpSpMkLst>
            <pc:docMk/>
            <pc:sldMk cId="2745595283" sldId="266"/>
            <ac:grpSpMk id="40" creationId="{CF19DE78-E9A2-DDF3-7E34-30C44D6A0442}"/>
          </ac:grpSpMkLst>
        </pc:grpChg>
        <pc:grpChg chg="mod">
          <ac:chgData name="Jan K" userId="d066db4a5de46abf" providerId="LiveId" clId="{B1733AD1-BED1-4C71-B004-3296BFE0AA74}" dt="2024-11-01T22:27:44.535" v="143"/>
          <ac:grpSpMkLst>
            <pc:docMk/>
            <pc:sldMk cId="2745595283" sldId="266"/>
            <ac:grpSpMk id="44" creationId="{966DD93B-22D5-3699-64A5-8D3C3161199A}"/>
          </ac:grpSpMkLst>
        </pc:grpChg>
        <pc:grpChg chg="add mod">
          <ac:chgData name="Jan K" userId="d066db4a5de46abf" providerId="LiveId" clId="{B1733AD1-BED1-4C71-B004-3296BFE0AA74}" dt="2024-11-01T22:49:17.856" v="301" actId="1076"/>
          <ac:grpSpMkLst>
            <pc:docMk/>
            <pc:sldMk cId="2745595283" sldId="266"/>
            <ac:grpSpMk id="48" creationId="{94EFD9F7-BF2C-479C-AE62-17DC73E93C75}"/>
          </ac:grpSpMkLst>
        </pc:grpChg>
        <pc:grpChg chg="mod">
          <ac:chgData name="Jan K" userId="d066db4a5de46abf" providerId="LiveId" clId="{B1733AD1-BED1-4C71-B004-3296BFE0AA74}" dt="2024-11-01T22:27:50.215" v="146"/>
          <ac:grpSpMkLst>
            <pc:docMk/>
            <pc:sldMk cId="2745595283" sldId="266"/>
            <ac:grpSpMk id="53" creationId="{368A34C8-6AEA-2048-F9A3-DE7E9EFB7C1E}"/>
          </ac:grpSpMkLst>
        </pc:grpChg>
        <pc:grpChg chg="add mod">
          <ac:chgData name="Jan K" userId="d066db4a5de46abf" providerId="LiveId" clId="{B1733AD1-BED1-4C71-B004-3296BFE0AA74}" dt="2024-11-01T22:46:33.496" v="276" actId="1076"/>
          <ac:grpSpMkLst>
            <pc:docMk/>
            <pc:sldMk cId="2745595283" sldId="266"/>
            <ac:grpSpMk id="2067" creationId="{D684337F-7D8D-4C78-EA91-DB0F695473FD}"/>
          </ac:grpSpMkLst>
        </pc:grpChg>
        <pc:grpChg chg="mod">
          <ac:chgData name="Jan K" userId="d066db4a5de46abf" providerId="LiveId" clId="{B1733AD1-BED1-4C71-B004-3296BFE0AA74}" dt="2024-11-01T22:41:57.856" v="263"/>
          <ac:grpSpMkLst>
            <pc:docMk/>
            <pc:sldMk cId="2745595283" sldId="266"/>
            <ac:grpSpMk id="2072" creationId="{D878DC87-C9AF-03FF-553E-91861B159672}"/>
          </ac:grpSpMkLst>
        </pc:grpChg>
        <pc:grpChg chg="add mod ord">
          <ac:chgData name="Jan K" userId="d066db4a5de46abf" providerId="LiveId" clId="{B1733AD1-BED1-4C71-B004-3296BFE0AA74}" dt="2024-11-01T22:50:54.640" v="328" actId="166"/>
          <ac:grpSpMkLst>
            <pc:docMk/>
            <pc:sldMk cId="2745595283" sldId="266"/>
            <ac:grpSpMk id="2077" creationId="{E58F6E4C-3247-0908-EC95-591274968F6B}"/>
          </ac:grpSpMkLst>
        </pc:grpChg>
        <pc:grpChg chg="mod">
          <ac:chgData name="Jan K" userId="d066db4a5de46abf" providerId="LiveId" clId="{B1733AD1-BED1-4C71-B004-3296BFE0AA74}" dt="2024-11-01T22:44:37.655" v="268"/>
          <ac:grpSpMkLst>
            <pc:docMk/>
            <pc:sldMk cId="2745595283" sldId="266"/>
            <ac:grpSpMk id="2082" creationId="{065EFA8F-9EBF-59BA-0019-501C71F12164}"/>
          </ac:grpSpMkLst>
        </pc:grpChg>
        <pc:grpChg chg="add mod">
          <ac:chgData name="Jan K" userId="d066db4a5de46abf" providerId="LiveId" clId="{B1733AD1-BED1-4C71-B004-3296BFE0AA74}" dt="2024-11-02T10:49:38.867" v="408" actId="1076"/>
          <ac:grpSpMkLst>
            <pc:docMk/>
            <pc:sldMk cId="2745595283" sldId="266"/>
            <ac:grpSpMk id="2113" creationId="{C8B0D7CE-FB95-5416-F77A-574A2D8AB288}"/>
          </ac:grpSpMkLst>
        </pc:grpChg>
        <pc:grpChg chg="mod">
          <ac:chgData name="Jan K" userId="d066db4a5de46abf" providerId="LiveId" clId="{B1733AD1-BED1-4C71-B004-3296BFE0AA74}" dt="2024-11-02T10:49:38.867" v="408" actId="1076"/>
          <ac:grpSpMkLst>
            <pc:docMk/>
            <pc:sldMk cId="2745595283" sldId="266"/>
            <ac:grpSpMk id="2118" creationId="{3339692A-79C7-FA70-10D4-6E689FB73FD3}"/>
          </ac:grpSpMkLst>
        </pc:grpChg>
        <pc:grpChg chg="add mod">
          <ac:chgData name="Jan K" userId="d066db4a5de46abf" providerId="LiveId" clId="{B1733AD1-BED1-4C71-B004-3296BFE0AA74}" dt="2024-11-01T23:05:50.450" v="394" actId="1076"/>
          <ac:grpSpMkLst>
            <pc:docMk/>
            <pc:sldMk cId="2745595283" sldId="266"/>
            <ac:grpSpMk id="2138" creationId="{A713250C-EB1B-EB43-71CB-85151AC58E41}"/>
          </ac:grpSpMkLst>
        </pc:grpChg>
        <pc:grpChg chg="mod">
          <ac:chgData name="Jan K" userId="d066db4a5de46abf" providerId="LiveId" clId="{B1733AD1-BED1-4C71-B004-3296BFE0AA74}" dt="2024-11-01T23:00:14.927" v="381"/>
          <ac:grpSpMkLst>
            <pc:docMk/>
            <pc:sldMk cId="2745595283" sldId="266"/>
            <ac:grpSpMk id="2142" creationId="{3EE5C3A6-BEC7-C4CC-00B0-5FF83873F80F}"/>
          </ac:grpSpMkLst>
        </pc:grpChg>
        <pc:picChg chg="mod">
          <ac:chgData name="Jan K" userId="d066db4a5de46abf" providerId="LiveId" clId="{B1733AD1-BED1-4C71-B004-3296BFE0AA74}" dt="2024-11-01T22:50:17.214" v="321" actId="14100"/>
          <ac:picMkLst>
            <pc:docMk/>
            <pc:sldMk cId="2745595283" sldId="266"/>
            <ac:picMk id="4" creationId="{E7563F9F-F97A-05A2-DBCC-D168B7B3D623}"/>
          </ac:picMkLst>
        </pc:picChg>
        <pc:picChg chg="mod">
          <ac:chgData name="Jan K" userId="d066db4a5de46abf" providerId="LiveId" clId="{B1733AD1-BED1-4C71-B004-3296BFE0AA74}" dt="2024-11-01T22:15:09.216" v="5" actId="1076"/>
          <ac:picMkLst>
            <pc:docMk/>
            <pc:sldMk cId="2745595283" sldId="266"/>
            <ac:picMk id="5" creationId="{F7A4AF17-865B-D4DF-3D3E-D5BAD7B799D8}"/>
          </ac:picMkLst>
        </pc:picChg>
        <pc:picChg chg="add mod">
          <ac:chgData name="Jan K" userId="d066db4a5de46abf" providerId="LiveId" clId="{B1733AD1-BED1-4C71-B004-3296BFE0AA74}" dt="2024-11-02T10:49:38.867" v="408" actId="1076"/>
          <ac:picMkLst>
            <pc:docMk/>
            <pc:sldMk cId="2745595283" sldId="266"/>
            <ac:picMk id="58" creationId="{7367BCA0-D8D4-1CA0-B396-21407806CA45}"/>
          </ac:picMkLst>
        </pc:picChg>
        <pc:picChg chg="add mod">
          <ac:chgData name="Jan K" userId="d066db4a5de46abf" providerId="LiveId" clId="{B1733AD1-BED1-4C71-B004-3296BFE0AA74}" dt="2024-11-02T10:51:17.683" v="449" actId="1076"/>
          <ac:picMkLst>
            <pc:docMk/>
            <pc:sldMk cId="2745595283" sldId="266"/>
            <ac:picMk id="2050" creationId="{38B91090-F730-6429-AC77-6AEE19671DD8}"/>
          </ac:picMkLst>
        </pc:picChg>
        <pc:cxnChg chg="add mod">
          <ac:chgData name="Jan K" userId="d066db4a5de46abf" providerId="LiveId" clId="{B1733AD1-BED1-4C71-B004-3296BFE0AA74}" dt="2024-11-02T10:49:42.487" v="409" actId="14100"/>
          <ac:cxnSpMkLst>
            <pc:docMk/>
            <pc:sldMk cId="2745595283" sldId="266"/>
            <ac:cxnSpMk id="2" creationId="{05834252-5EC0-8F8C-57F0-74CEFBCE5C75}"/>
          </ac:cxnSpMkLst>
        </pc:cxnChg>
        <pc:cxnChg chg="add mod">
          <ac:chgData name="Jan K" userId="d066db4a5de46abf" providerId="LiveId" clId="{B1733AD1-BED1-4C71-B004-3296BFE0AA74}" dt="2024-11-01T22:16:04.240" v="12" actId="1582"/>
          <ac:cxnSpMkLst>
            <pc:docMk/>
            <pc:sldMk cId="2745595283" sldId="266"/>
            <ac:cxnSpMk id="3" creationId="{7BAC3796-7EA7-A720-334C-417FCEE30446}"/>
          </ac:cxnSpMkLst>
        </pc:cxnChg>
        <pc:cxnChg chg="add mod">
          <ac:chgData name="Jan K" userId="d066db4a5de46abf" providerId="LiveId" clId="{B1733AD1-BED1-4C71-B004-3296BFE0AA74}" dt="2024-11-01T22:40:05.867" v="261" actId="1076"/>
          <ac:cxnSpMkLst>
            <pc:docMk/>
            <pc:sldMk cId="2745595283" sldId="266"/>
            <ac:cxnSpMk id="6" creationId="{A973B31F-62DA-FBF9-5798-5357B0103687}"/>
          </ac:cxnSpMkLst>
        </pc:cxnChg>
        <pc:cxnChg chg="add mod">
          <ac:chgData name="Jan K" userId="d066db4a5de46abf" providerId="LiveId" clId="{B1733AD1-BED1-4C71-B004-3296BFE0AA74}" dt="2024-11-02T10:52:06.926" v="452" actId="14100"/>
          <ac:cxnSpMkLst>
            <pc:docMk/>
            <pc:sldMk cId="2745595283" sldId="266"/>
            <ac:cxnSpMk id="43" creationId="{594B7745-774B-FECF-821A-D6F2BFC145B2}"/>
          </ac:cxnSpMkLst>
        </pc:cxnChg>
        <pc:cxnChg chg="add mod">
          <ac:chgData name="Jan K" userId="d066db4a5de46abf" providerId="LiveId" clId="{B1733AD1-BED1-4C71-B004-3296BFE0AA74}" dt="2024-11-02T10:50:52.133" v="445" actId="14100"/>
          <ac:cxnSpMkLst>
            <pc:docMk/>
            <pc:sldMk cId="2745595283" sldId="266"/>
            <ac:cxnSpMk id="47" creationId="{954BB559-959D-A3B6-8666-9A8E8A5C9B6F}"/>
          </ac:cxnSpMkLst>
        </pc:cxnChg>
        <pc:cxnChg chg="add mod">
          <ac:chgData name="Jan K" userId="d066db4a5de46abf" providerId="LiveId" clId="{B1733AD1-BED1-4C71-B004-3296BFE0AA74}" dt="2024-11-01T22:39:51.778" v="260" actId="14100"/>
          <ac:cxnSpMkLst>
            <pc:docMk/>
            <pc:sldMk cId="2745595283" sldId="266"/>
            <ac:cxnSpMk id="2048" creationId="{912275B6-3E85-59C4-6095-E01AEF8FB4A0}"/>
          </ac:cxnSpMkLst>
        </pc:cxnChg>
        <pc:cxnChg chg="add mod">
          <ac:chgData name="Jan K" userId="d066db4a5de46abf" providerId="LiveId" clId="{B1733AD1-BED1-4C71-B004-3296BFE0AA74}" dt="2024-11-01T22:40:16.411" v="262" actId="208"/>
          <ac:cxnSpMkLst>
            <pc:docMk/>
            <pc:sldMk cId="2745595283" sldId="266"/>
            <ac:cxnSpMk id="2051" creationId="{7CE7E800-5203-ACE0-60EB-A220F1B5BBBA}"/>
          </ac:cxnSpMkLst>
        </pc:cxnChg>
        <pc:cxnChg chg="add mod">
          <ac:chgData name="Jan K" userId="d066db4a5de46abf" providerId="LiveId" clId="{B1733AD1-BED1-4C71-B004-3296BFE0AA74}" dt="2024-11-02T10:51:26.038" v="450" actId="1076"/>
          <ac:cxnSpMkLst>
            <pc:docMk/>
            <pc:sldMk cId="2745595283" sldId="266"/>
            <ac:cxnSpMk id="2059" creationId="{D9241F75-2E76-DAF3-0F9D-7A754CC2A1C3}"/>
          </ac:cxnSpMkLst>
        </pc:cxnChg>
        <pc:cxnChg chg="add mod">
          <ac:chgData name="Jan K" userId="d066db4a5de46abf" providerId="LiveId" clId="{B1733AD1-BED1-4C71-B004-3296BFE0AA74}" dt="2024-11-02T10:51:30.767" v="451" actId="14100"/>
          <ac:cxnSpMkLst>
            <pc:docMk/>
            <pc:sldMk cId="2745595283" sldId="266"/>
            <ac:cxnSpMk id="2061" creationId="{C93EB9E4-AD2A-954D-E2FA-982D6AD556D3}"/>
          </ac:cxnSpMkLst>
        </pc:cxnChg>
        <pc:cxnChg chg="add mod">
          <ac:chgData name="Jan K" userId="d066db4a5de46abf" providerId="LiveId" clId="{B1733AD1-BED1-4C71-B004-3296BFE0AA74}" dt="2024-11-01T22:49:49.374" v="312" actId="1038"/>
          <ac:cxnSpMkLst>
            <pc:docMk/>
            <pc:sldMk cId="2745595283" sldId="266"/>
            <ac:cxnSpMk id="2087" creationId="{CCC5E001-C494-4746-89D6-C431169BAD56}"/>
          </ac:cxnSpMkLst>
        </pc:cxnChg>
        <pc:cxnChg chg="add mod">
          <ac:chgData name="Jan K" userId="d066db4a5de46abf" providerId="LiveId" clId="{B1733AD1-BED1-4C71-B004-3296BFE0AA74}" dt="2024-11-01T22:50:59.583" v="329" actId="1076"/>
          <ac:cxnSpMkLst>
            <pc:docMk/>
            <pc:sldMk cId="2745595283" sldId="266"/>
            <ac:cxnSpMk id="2092" creationId="{9BB1AFB2-EAD4-3E56-776C-AF8FC63B78A4}"/>
          </ac:cxnSpMkLst>
        </pc:cxnChg>
        <pc:cxnChg chg="add mod">
          <ac:chgData name="Jan K" userId="d066db4a5de46abf" providerId="LiveId" clId="{B1733AD1-BED1-4C71-B004-3296BFE0AA74}" dt="2024-11-01T22:50:11.414" v="320" actId="208"/>
          <ac:cxnSpMkLst>
            <pc:docMk/>
            <pc:sldMk cId="2745595283" sldId="266"/>
            <ac:cxnSpMk id="2094" creationId="{56807906-60D6-3C19-512F-540D1F2B16B5}"/>
          </ac:cxnSpMkLst>
        </pc:cxnChg>
        <pc:cxnChg chg="add mod">
          <ac:chgData name="Jan K" userId="d066db4a5de46abf" providerId="LiveId" clId="{B1733AD1-BED1-4C71-B004-3296BFE0AA74}" dt="2024-11-01T22:52:16.326" v="342" actId="1035"/>
          <ac:cxnSpMkLst>
            <pc:docMk/>
            <pc:sldMk cId="2745595283" sldId="266"/>
            <ac:cxnSpMk id="2096" creationId="{AEE5C106-EF17-5439-93CC-B235CE76C64C}"/>
          </ac:cxnSpMkLst>
        </pc:cxnChg>
        <pc:cxnChg chg="add mod">
          <ac:chgData name="Jan K" userId="d066db4a5de46abf" providerId="LiveId" clId="{B1733AD1-BED1-4C71-B004-3296BFE0AA74}" dt="2024-11-01T23:06:08.640" v="395" actId="1038"/>
          <ac:cxnSpMkLst>
            <pc:docMk/>
            <pc:sldMk cId="2745595283" sldId="266"/>
            <ac:cxnSpMk id="2098" creationId="{951CC4E8-28AC-6564-70AA-2A6FFE572CCD}"/>
          </ac:cxnSpMkLst>
        </pc:cxnChg>
        <pc:cxnChg chg="add del mod">
          <ac:chgData name="Jan K" userId="d066db4a5de46abf" providerId="LiveId" clId="{B1733AD1-BED1-4C71-B004-3296BFE0AA74}" dt="2024-11-01T23:05:28.396" v="391" actId="478"/>
          <ac:cxnSpMkLst>
            <pc:docMk/>
            <pc:sldMk cId="2745595283" sldId="266"/>
            <ac:cxnSpMk id="2101" creationId="{A7A9CBB0-6619-A0A9-EECD-C643EBA8BFFC}"/>
          </ac:cxnSpMkLst>
        </pc:cxnChg>
        <pc:cxnChg chg="add mod">
          <ac:chgData name="Jan K" userId="d066db4a5de46abf" providerId="LiveId" clId="{B1733AD1-BED1-4C71-B004-3296BFE0AA74}" dt="2024-11-01T23:05:32.668" v="392" actId="14100"/>
          <ac:cxnSpMkLst>
            <pc:docMk/>
            <pc:sldMk cId="2745595283" sldId="266"/>
            <ac:cxnSpMk id="2104" creationId="{859F8D17-A187-165D-5B1C-469E195C8D6D}"/>
          </ac:cxnSpMkLst>
        </pc:cxnChg>
        <pc:cxnChg chg="add mod">
          <ac:chgData name="Jan K" userId="d066db4a5de46abf" providerId="LiveId" clId="{B1733AD1-BED1-4C71-B004-3296BFE0AA74}" dt="2024-11-01T23:00:56.082" v="387" actId="208"/>
          <ac:cxnSpMkLst>
            <pc:docMk/>
            <pc:sldMk cId="2745595283" sldId="266"/>
            <ac:cxnSpMk id="2106" creationId="{72608580-DF29-74D5-AEA1-D0D964E7D91A}"/>
          </ac:cxnSpMkLst>
        </pc:cxnChg>
        <pc:cxnChg chg="add mod">
          <ac:chgData name="Jan K" userId="d066db4a5de46abf" providerId="LiveId" clId="{B1733AD1-BED1-4C71-B004-3296BFE0AA74}" dt="2024-11-01T23:06:32.523" v="397" actId="14100"/>
          <ac:cxnSpMkLst>
            <pc:docMk/>
            <pc:sldMk cId="2745595283" sldId="266"/>
            <ac:cxnSpMk id="2109" creationId="{E9DFAEA0-7BD0-4968-5230-59C137E03ED9}"/>
          </ac:cxnSpMkLst>
        </pc:cxnChg>
        <pc:cxnChg chg="add mod">
          <ac:chgData name="Jan K" userId="d066db4a5de46abf" providerId="LiveId" clId="{B1733AD1-BED1-4C71-B004-3296BFE0AA74}" dt="2024-11-01T23:00:36.502" v="386" actId="14100"/>
          <ac:cxnSpMkLst>
            <pc:docMk/>
            <pc:sldMk cId="2745595283" sldId="266"/>
            <ac:cxnSpMk id="2124" creationId="{EE8D1037-4BBA-FFD9-A61C-220E7776332B}"/>
          </ac:cxnSpMkLst>
        </pc:cxnChg>
        <pc:cxnChg chg="add mod">
          <ac:chgData name="Jan K" userId="d066db4a5de46abf" providerId="LiveId" clId="{B1733AD1-BED1-4C71-B004-3296BFE0AA74}" dt="2024-11-01T22:59:37.069" v="373" actId="14100"/>
          <ac:cxnSpMkLst>
            <pc:docMk/>
            <pc:sldMk cId="2745595283" sldId="266"/>
            <ac:cxnSpMk id="2130" creationId="{46F51143-0D3C-3104-FF33-272F9FD37C35}"/>
          </ac:cxnSpMkLst>
        </pc:cxnChg>
        <pc:cxnChg chg="add mod">
          <ac:chgData name="Jan K" userId="d066db4a5de46abf" providerId="LiveId" clId="{B1733AD1-BED1-4C71-B004-3296BFE0AA74}" dt="2024-11-01T23:00:34.109" v="385" actId="14100"/>
          <ac:cxnSpMkLst>
            <pc:docMk/>
            <pc:sldMk cId="2745595283" sldId="266"/>
            <ac:cxnSpMk id="2132" creationId="{B7FFDCBA-1BE4-3E25-C06A-B234B86A57C5}"/>
          </ac:cxnSpMkLst>
        </pc:cxnChg>
      </pc:sldChg>
      <pc:sldChg chg="addSp delSp modSp new">
        <pc:chgData name="Jan K" userId="d066db4a5de46abf" providerId="LiveId" clId="{B1733AD1-BED1-4C71-B004-3296BFE0AA74}" dt="2024-11-21T17:36:49.527" v="612" actId="1076"/>
        <pc:sldMkLst>
          <pc:docMk/>
          <pc:sldMk cId="1436483383" sldId="267"/>
        </pc:sldMkLst>
        <pc:picChg chg="add mod">
          <ac:chgData name="Jan K" userId="d066db4a5de46abf" providerId="LiveId" clId="{B1733AD1-BED1-4C71-B004-3296BFE0AA74}" dt="2024-11-21T17:36:49.527" v="612" actId="1076"/>
          <ac:picMkLst>
            <pc:docMk/>
            <pc:sldMk cId="1436483383" sldId="267"/>
            <ac:picMk id="2" creationId="{88D73887-34D2-7F16-D513-AB9D4CF2A574}"/>
          </ac:picMkLst>
        </pc:picChg>
        <pc:picChg chg="add">
          <ac:chgData name="Jan K" userId="d066db4a5de46abf" providerId="LiveId" clId="{B1733AD1-BED1-4C71-B004-3296BFE0AA74}" dt="2024-11-01T22:14:28.863" v="1"/>
          <ac:picMkLst>
            <pc:docMk/>
            <pc:sldMk cId="1436483383" sldId="267"/>
            <ac:picMk id="1026" creationId="{1FAA62C8-67D6-2C03-4F45-5C825BF0276B}"/>
          </ac:picMkLst>
        </pc:picChg>
        <pc:picChg chg="add del mod">
          <ac:chgData name="Jan K" userId="d066db4a5de46abf" providerId="LiveId" clId="{B1733AD1-BED1-4C71-B004-3296BFE0AA74}" dt="2024-11-01T22:29:56.653" v="165" actId="21"/>
          <ac:picMkLst>
            <pc:docMk/>
            <pc:sldMk cId="1436483383" sldId="267"/>
            <ac:picMk id="1028" creationId="{88D73887-34D2-7F16-D513-AB9D4CF2A574}"/>
          </ac:picMkLst>
        </pc:picChg>
      </pc:sldChg>
      <pc:sldChg chg="addSp delSp modSp add mod">
        <pc:chgData name="Jan K" userId="d066db4a5de46abf" providerId="LiveId" clId="{B1733AD1-BED1-4C71-B004-3296BFE0AA74}" dt="2024-11-21T21:47:50.198" v="762" actId="14100"/>
        <pc:sldMkLst>
          <pc:docMk/>
          <pc:sldMk cId="4276762234" sldId="268"/>
        </pc:sldMkLst>
        <pc:spChg chg="add mod">
          <ac:chgData name="Jan K" userId="d066db4a5de46abf" providerId="LiveId" clId="{B1733AD1-BED1-4C71-B004-3296BFE0AA74}" dt="2024-11-21T21:47:16.484" v="755" actId="207"/>
          <ac:spMkLst>
            <pc:docMk/>
            <pc:sldMk cId="4276762234" sldId="268"/>
            <ac:spMk id="2" creationId="{0A509B09-914E-F9B9-BD1D-6050E7AAE715}"/>
          </ac:spMkLst>
        </pc:spChg>
        <pc:spChg chg="mod">
          <ac:chgData name="Jan K" userId="d066db4a5de46abf" providerId="LiveId" clId="{B1733AD1-BED1-4C71-B004-3296BFE0AA74}" dt="2024-11-21T17:23:09.513" v="458" actId="164"/>
          <ac:spMkLst>
            <pc:docMk/>
            <pc:sldMk cId="4276762234" sldId="268"/>
            <ac:spMk id="7" creationId="{FF6E775D-361C-0ECE-9ADA-6A90819F6D43}"/>
          </ac:spMkLst>
        </pc:spChg>
        <pc:spChg chg="mod">
          <ac:chgData name="Jan K" userId="d066db4a5de46abf" providerId="LiveId" clId="{B1733AD1-BED1-4C71-B004-3296BFE0AA74}" dt="2024-11-21T17:23:09.513" v="458" actId="164"/>
          <ac:spMkLst>
            <pc:docMk/>
            <pc:sldMk cId="4276762234" sldId="268"/>
            <ac:spMk id="28" creationId="{067C82BF-E058-9AA7-15C5-6456117A40CD}"/>
          </ac:spMkLst>
        </pc:spChg>
        <pc:spChg chg="add mod">
          <ac:chgData name="Jan K" userId="d066db4a5de46abf" providerId="LiveId" clId="{B1733AD1-BED1-4C71-B004-3296BFE0AA74}" dt="2024-11-21T21:47:08.821" v="753" actId="164"/>
          <ac:spMkLst>
            <pc:docMk/>
            <pc:sldMk cId="4276762234" sldId="268"/>
            <ac:spMk id="30" creationId="{FEB5C9E8-5079-F62F-E9A9-81D6D03803B4}"/>
          </ac:spMkLst>
        </pc:spChg>
        <pc:spChg chg="add mod ord">
          <ac:chgData name="Jan K" userId="d066db4a5de46abf" providerId="LiveId" clId="{B1733AD1-BED1-4C71-B004-3296BFE0AA74}" dt="2024-11-21T17:24:00.197" v="462" actId="167"/>
          <ac:spMkLst>
            <pc:docMk/>
            <pc:sldMk cId="4276762234" sldId="268"/>
            <ac:spMk id="36" creationId="{36FFEB34-A7C1-74EA-4442-063B1C7C71FD}"/>
          </ac:spMkLst>
        </pc:spChg>
        <pc:spChg chg="del">
          <ac:chgData name="Jan K" userId="d066db4a5de46abf" providerId="LiveId" clId="{B1733AD1-BED1-4C71-B004-3296BFE0AA74}" dt="2024-11-21T17:24:34.911" v="469" actId="478"/>
          <ac:spMkLst>
            <pc:docMk/>
            <pc:sldMk cId="4276762234" sldId="268"/>
            <ac:spMk id="41" creationId="{F8F22498-35B9-E469-7EF2-31267410C0F8}"/>
          </ac:spMkLst>
        </pc:spChg>
        <pc:spChg chg="del">
          <ac:chgData name="Jan K" userId="d066db4a5de46abf" providerId="LiveId" clId="{B1733AD1-BED1-4C71-B004-3296BFE0AA74}" dt="2024-11-21T17:24:36.645" v="472" actId="478"/>
          <ac:spMkLst>
            <pc:docMk/>
            <pc:sldMk cId="4276762234" sldId="268"/>
            <ac:spMk id="42" creationId="{3743731C-DEF8-3095-D449-E61E4EA7C2AD}"/>
          </ac:spMkLst>
        </pc:spChg>
        <pc:spChg chg="del mod">
          <ac:chgData name="Jan K" userId="d066db4a5de46abf" providerId="LiveId" clId="{B1733AD1-BED1-4C71-B004-3296BFE0AA74}" dt="2024-11-21T17:25:13.520" v="480" actId="478"/>
          <ac:spMkLst>
            <pc:docMk/>
            <pc:sldMk cId="4276762234" sldId="268"/>
            <ac:spMk id="44" creationId="{8EA41033-1F64-3106-EC39-BFE9FFA10DCB}"/>
          </ac:spMkLst>
        </pc:spChg>
        <pc:spChg chg="mod">
          <ac:chgData name="Jan K" userId="d066db4a5de46abf" providerId="LiveId" clId="{B1733AD1-BED1-4C71-B004-3296BFE0AA74}" dt="2024-11-21T17:25:56.255" v="490" actId="1076"/>
          <ac:spMkLst>
            <pc:docMk/>
            <pc:sldMk cId="4276762234" sldId="268"/>
            <ac:spMk id="46" creationId="{F0046E54-6604-28E8-4C01-A8ECB7B91A37}"/>
          </ac:spMkLst>
        </pc:spChg>
        <pc:spChg chg="mod">
          <ac:chgData name="Jan K" userId="d066db4a5de46abf" providerId="LiveId" clId="{B1733AD1-BED1-4C71-B004-3296BFE0AA74}" dt="2024-11-21T17:24:32.711" v="468" actId="1076"/>
          <ac:spMkLst>
            <pc:docMk/>
            <pc:sldMk cId="4276762234" sldId="268"/>
            <ac:spMk id="59" creationId="{8935B64A-EB29-0B5E-B636-3966E14AB3DD}"/>
          </ac:spMkLst>
        </pc:spChg>
        <pc:spChg chg="mod">
          <ac:chgData name="Jan K" userId="d066db4a5de46abf" providerId="LiveId" clId="{B1733AD1-BED1-4C71-B004-3296BFE0AA74}" dt="2024-11-21T17:25:11.579" v="478"/>
          <ac:spMkLst>
            <pc:docMk/>
            <pc:sldMk cId="4276762234" sldId="268"/>
            <ac:spMk id="60" creationId="{0B033607-E4F8-4623-A586-14A334AB6455}"/>
          </ac:spMkLst>
        </pc:spChg>
        <pc:spChg chg="mod">
          <ac:chgData name="Jan K" userId="d066db4a5de46abf" providerId="LiveId" clId="{B1733AD1-BED1-4C71-B004-3296BFE0AA74}" dt="2024-11-21T17:25:11.579" v="478"/>
          <ac:spMkLst>
            <pc:docMk/>
            <pc:sldMk cId="4276762234" sldId="268"/>
            <ac:spMk id="61" creationId="{8E03FBB4-20EA-183A-32EA-00876EAB213C}"/>
          </ac:spMkLst>
        </pc:spChg>
        <pc:spChg chg="del mod">
          <ac:chgData name="Jan K" userId="d066db4a5de46abf" providerId="LiveId" clId="{B1733AD1-BED1-4C71-B004-3296BFE0AA74}" dt="2024-11-21T17:25:21.932" v="483" actId="478"/>
          <ac:spMkLst>
            <pc:docMk/>
            <pc:sldMk cId="4276762234" sldId="268"/>
            <ac:spMk id="62" creationId="{5C32CF5F-5087-00ED-DF4A-E3CF37E7DD87}"/>
          </ac:spMkLst>
        </pc:spChg>
        <pc:spChg chg="del mod">
          <ac:chgData name="Jan K" userId="d066db4a5de46abf" providerId="LiveId" clId="{B1733AD1-BED1-4C71-B004-3296BFE0AA74}" dt="2024-11-21T17:25:16.955" v="481" actId="478"/>
          <ac:spMkLst>
            <pc:docMk/>
            <pc:sldMk cId="4276762234" sldId="268"/>
            <ac:spMk id="63" creationId="{04CA9B54-C347-AE15-4868-BA42A69EB0B9}"/>
          </ac:spMkLst>
        </pc:spChg>
        <pc:spChg chg="mod">
          <ac:chgData name="Jan K" userId="d066db4a5de46abf" providerId="LiveId" clId="{B1733AD1-BED1-4C71-B004-3296BFE0AA74}" dt="2024-11-21T17:25:11.579" v="478"/>
          <ac:spMkLst>
            <pc:docMk/>
            <pc:sldMk cId="4276762234" sldId="268"/>
            <ac:spMk id="2052" creationId="{171AB8E6-92C2-552A-E387-D5BD17F0B9FC}"/>
          </ac:spMkLst>
        </pc:spChg>
        <pc:spChg chg="mod">
          <ac:chgData name="Jan K" userId="d066db4a5de46abf" providerId="LiveId" clId="{B1733AD1-BED1-4C71-B004-3296BFE0AA74}" dt="2024-11-21T17:25:11.579" v="478"/>
          <ac:spMkLst>
            <pc:docMk/>
            <pc:sldMk cId="4276762234" sldId="268"/>
            <ac:spMk id="2053" creationId="{3CBB4D9C-398F-351E-AA0F-1BB20E9C2FCA}"/>
          </ac:spMkLst>
        </pc:spChg>
        <pc:spChg chg="del mod">
          <ac:chgData name="Jan K" userId="d066db4a5de46abf" providerId="LiveId" clId="{B1733AD1-BED1-4C71-B004-3296BFE0AA74}" dt="2024-11-21T17:25:18.880" v="482" actId="478"/>
          <ac:spMkLst>
            <pc:docMk/>
            <pc:sldMk cId="4276762234" sldId="268"/>
            <ac:spMk id="2054" creationId="{A5CF7A36-AD40-E249-3B47-1B27462AC563}"/>
          </ac:spMkLst>
        </pc:spChg>
        <pc:spChg chg="del mod">
          <ac:chgData name="Jan K" userId="d066db4a5de46abf" providerId="LiveId" clId="{B1733AD1-BED1-4C71-B004-3296BFE0AA74}" dt="2024-11-21T17:25:25.789" v="484" actId="478"/>
          <ac:spMkLst>
            <pc:docMk/>
            <pc:sldMk cId="4276762234" sldId="268"/>
            <ac:spMk id="2055" creationId="{E324919D-7BD3-6ECA-B9B2-5947E1693958}"/>
          </ac:spMkLst>
        </pc:spChg>
        <pc:spChg chg="mod">
          <ac:chgData name="Jan K" userId="d066db4a5de46abf" providerId="LiveId" clId="{B1733AD1-BED1-4C71-B004-3296BFE0AA74}" dt="2024-11-21T17:26:48.980" v="507" actId="20577"/>
          <ac:spMkLst>
            <pc:docMk/>
            <pc:sldMk cId="4276762234" sldId="268"/>
            <ac:spMk id="2062" creationId="{63A7A325-8C23-9B97-07E3-CEE44FC79DB8}"/>
          </ac:spMkLst>
        </pc:spChg>
        <pc:spChg chg="mod">
          <ac:chgData name="Jan K" userId="d066db4a5de46abf" providerId="LiveId" clId="{B1733AD1-BED1-4C71-B004-3296BFE0AA74}" dt="2024-11-21T17:26:34.735" v="495"/>
          <ac:spMkLst>
            <pc:docMk/>
            <pc:sldMk cId="4276762234" sldId="268"/>
            <ac:spMk id="2063" creationId="{3F983E2E-C36D-AB97-5C13-071B5E6A6FF7}"/>
          </ac:spMkLst>
        </pc:spChg>
        <pc:spChg chg="mod">
          <ac:chgData name="Jan K" userId="d066db4a5de46abf" providerId="LiveId" clId="{B1733AD1-BED1-4C71-B004-3296BFE0AA74}" dt="2024-11-21T17:26:34.735" v="495"/>
          <ac:spMkLst>
            <pc:docMk/>
            <pc:sldMk cId="4276762234" sldId="268"/>
            <ac:spMk id="2064" creationId="{D9CE975E-1C50-54A2-19AD-8B7AA51BB000}"/>
          </ac:spMkLst>
        </pc:spChg>
        <pc:spChg chg="mod">
          <ac:chgData name="Jan K" userId="d066db4a5de46abf" providerId="LiveId" clId="{B1733AD1-BED1-4C71-B004-3296BFE0AA74}" dt="2024-11-21T17:26:34.735" v="495"/>
          <ac:spMkLst>
            <pc:docMk/>
            <pc:sldMk cId="4276762234" sldId="268"/>
            <ac:spMk id="2066" creationId="{E9B7CAE6-F4FB-61B9-6F17-3E6D662B5F5E}"/>
          </ac:spMkLst>
        </pc:spChg>
        <pc:spChg chg="mod">
          <ac:chgData name="Jan K" userId="d066db4a5de46abf" providerId="LiveId" clId="{B1733AD1-BED1-4C71-B004-3296BFE0AA74}" dt="2024-11-21T17:26:34.735" v="495"/>
          <ac:spMkLst>
            <pc:docMk/>
            <pc:sldMk cId="4276762234" sldId="268"/>
            <ac:spMk id="2079" creationId="{D7B7B20B-0AA9-AFE1-E6C5-74CACD1D2133}"/>
          </ac:spMkLst>
        </pc:spChg>
        <pc:spChg chg="mod">
          <ac:chgData name="Jan K" userId="d066db4a5de46abf" providerId="LiveId" clId="{B1733AD1-BED1-4C71-B004-3296BFE0AA74}" dt="2024-11-21T17:27:30.611" v="518" actId="1076"/>
          <ac:spMkLst>
            <pc:docMk/>
            <pc:sldMk cId="4276762234" sldId="268"/>
            <ac:spMk id="2085" creationId="{82EAA65D-97D2-DE29-A98F-C219B92AE450}"/>
          </ac:spMkLst>
        </pc:spChg>
        <pc:spChg chg="mod">
          <ac:chgData name="Jan K" userId="d066db4a5de46abf" providerId="LiveId" clId="{B1733AD1-BED1-4C71-B004-3296BFE0AA74}" dt="2024-11-21T17:41:00.253" v="660" actId="17032"/>
          <ac:spMkLst>
            <pc:docMk/>
            <pc:sldMk cId="4276762234" sldId="268"/>
            <ac:spMk id="2088" creationId="{D3CC2979-5285-305D-DA75-6201E6F31477}"/>
          </ac:spMkLst>
        </pc:spChg>
        <pc:spChg chg="del mod">
          <ac:chgData name="Jan K" userId="d066db4a5de46abf" providerId="LiveId" clId="{B1733AD1-BED1-4C71-B004-3296BFE0AA74}" dt="2024-11-21T17:27:50.128" v="524" actId="478"/>
          <ac:spMkLst>
            <pc:docMk/>
            <pc:sldMk cId="4276762234" sldId="268"/>
            <ac:spMk id="2089" creationId="{8780B954-C49D-6258-D71F-80B44984DDF7}"/>
          </ac:spMkLst>
        </pc:spChg>
        <pc:spChg chg="mod">
          <ac:chgData name="Jan K" userId="d066db4a5de46abf" providerId="LiveId" clId="{B1733AD1-BED1-4C71-B004-3296BFE0AA74}" dt="2024-11-21T17:27:07.833" v="508"/>
          <ac:spMkLst>
            <pc:docMk/>
            <pc:sldMk cId="4276762234" sldId="268"/>
            <ac:spMk id="2091" creationId="{A8CD763D-2EDF-95A9-31CE-019A8B6D7884}"/>
          </ac:spMkLst>
        </pc:spChg>
        <pc:spChg chg="del mod">
          <ac:chgData name="Jan K" userId="d066db4a5de46abf" providerId="LiveId" clId="{B1733AD1-BED1-4C71-B004-3296BFE0AA74}" dt="2024-11-21T17:27:47.735" v="523" actId="478"/>
          <ac:spMkLst>
            <pc:docMk/>
            <pc:sldMk cId="4276762234" sldId="268"/>
            <ac:spMk id="2093" creationId="{35EE7D63-FCD2-4B94-10A7-DCA5AADE5CEA}"/>
          </ac:spMkLst>
        </pc:spChg>
        <pc:spChg chg="mod topLvl">
          <ac:chgData name="Jan K" userId="d066db4a5de46abf" providerId="LiveId" clId="{B1733AD1-BED1-4C71-B004-3296BFE0AA74}" dt="2024-11-21T17:40:53.932" v="659" actId="17032"/>
          <ac:spMkLst>
            <pc:docMk/>
            <pc:sldMk cId="4276762234" sldId="268"/>
            <ac:spMk id="2100" creationId="{DBA82001-7886-1C9B-D706-F0682E6D85BB}"/>
          </ac:spMkLst>
        </pc:spChg>
        <pc:spChg chg="del mod topLvl">
          <ac:chgData name="Jan K" userId="d066db4a5de46abf" providerId="LiveId" clId="{B1733AD1-BED1-4C71-B004-3296BFE0AA74}" dt="2024-11-21T17:28:53.291" v="537" actId="478"/>
          <ac:spMkLst>
            <pc:docMk/>
            <pc:sldMk cId="4276762234" sldId="268"/>
            <ac:spMk id="2101" creationId="{9443BE69-65D8-28BC-E87B-304251A96A04}"/>
          </ac:spMkLst>
        </pc:spChg>
        <pc:spChg chg="mod">
          <ac:chgData name="Jan K" userId="d066db4a5de46abf" providerId="LiveId" clId="{B1733AD1-BED1-4C71-B004-3296BFE0AA74}" dt="2024-11-21T17:28:31.089" v="530" actId="165"/>
          <ac:spMkLst>
            <pc:docMk/>
            <pc:sldMk cId="4276762234" sldId="268"/>
            <ac:spMk id="2103" creationId="{415EE4EB-043C-CC1B-8B0D-4C2103196E07}"/>
          </ac:spMkLst>
        </pc:spChg>
        <pc:spChg chg="del mod">
          <ac:chgData name="Jan K" userId="d066db4a5de46abf" providerId="LiveId" clId="{B1733AD1-BED1-4C71-B004-3296BFE0AA74}" dt="2024-11-21T17:28:51.804" v="535" actId="478"/>
          <ac:spMkLst>
            <pc:docMk/>
            <pc:sldMk cId="4276762234" sldId="268"/>
            <ac:spMk id="2105" creationId="{E2C05BAF-E706-991B-7980-C0B63751D6CE}"/>
          </ac:spMkLst>
        </pc:spChg>
        <pc:spChg chg="mod">
          <ac:chgData name="Jan K" userId="d066db4a5de46abf" providerId="LiveId" clId="{B1733AD1-BED1-4C71-B004-3296BFE0AA74}" dt="2024-11-21T17:40:48.645" v="658" actId="17032"/>
          <ac:spMkLst>
            <pc:docMk/>
            <pc:sldMk cId="4276762234" sldId="268"/>
            <ac:spMk id="2110" creationId="{686DD3DF-9BD6-D227-B1A0-CA8FE14E36C7}"/>
          </ac:spMkLst>
        </pc:spChg>
        <pc:spChg chg="mod">
          <ac:chgData name="Jan K" userId="d066db4a5de46abf" providerId="LiveId" clId="{B1733AD1-BED1-4C71-B004-3296BFE0AA74}" dt="2024-11-21T17:29:02.997" v="539"/>
          <ac:spMkLst>
            <pc:docMk/>
            <pc:sldMk cId="4276762234" sldId="268"/>
            <ac:spMk id="2111" creationId="{9EACC892-8876-9776-1EF1-4EA78045C125}"/>
          </ac:spMkLst>
        </pc:spChg>
        <pc:spChg chg="mod">
          <ac:chgData name="Jan K" userId="d066db4a5de46abf" providerId="LiveId" clId="{B1733AD1-BED1-4C71-B004-3296BFE0AA74}" dt="2024-11-21T17:29:18.680" v="541"/>
          <ac:spMkLst>
            <pc:docMk/>
            <pc:sldMk cId="4276762234" sldId="268"/>
            <ac:spMk id="2126" creationId="{AC2FA631-F3EB-76A5-C4FC-C4E244DA15DC}"/>
          </ac:spMkLst>
        </pc:spChg>
        <pc:spChg chg="mod">
          <ac:chgData name="Jan K" userId="d066db4a5de46abf" providerId="LiveId" clId="{B1733AD1-BED1-4C71-B004-3296BFE0AA74}" dt="2024-11-21T17:29:18.680" v="541"/>
          <ac:spMkLst>
            <pc:docMk/>
            <pc:sldMk cId="4276762234" sldId="268"/>
            <ac:spMk id="2127" creationId="{EDDC5C46-3AF0-01C3-04AB-B14A4C499E0E}"/>
          </ac:spMkLst>
        </pc:spChg>
        <pc:spChg chg="mod">
          <ac:chgData name="Jan K" userId="d066db4a5de46abf" providerId="LiveId" clId="{B1733AD1-BED1-4C71-B004-3296BFE0AA74}" dt="2024-11-21T17:29:18.680" v="541"/>
          <ac:spMkLst>
            <pc:docMk/>
            <pc:sldMk cId="4276762234" sldId="268"/>
            <ac:spMk id="2128" creationId="{E03CD78B-1F7B-F33C-128C-444B7988F764}"/>
          </ac:spMkLst>
        </pc:spChg>
        <pc:spChg chg="mod ord">
          <ac:chgData name="Jan K" userId="d066db4a5de46abf" providerId="LiveId" clId="{B1733AD1-BED1-4C71-B004-3296BFE0AA74}" dt="2024-11-21T17:33:38.465" v="597" actId="207"/>
          <ac:spMkLst>
            <pc:docMk/>
            <pc:sldMk cId="4276762234" sldId="268"/>
            <ac:spMk id="2133" creationId="{C9BEA365-A9E1-BACE-52CE-293104E4AE8D}"/>
          </ac:spMkLst>
        </pc:spChg>
        <pc:spChg chg="mod">
          <ac:chgData name="Jan K" userId="d066db4a5de46abf" providerId="LiveId" clId="{B1733AD1-BED1-4C71-B004-3296BFE0AA74}" dt="2024-11-21T17:29:28.202" v="544"/>
          <ac:spMkLst>
            <pc:docMk/>
            <pc:sldMk cId="4276762234" sldId="268"/>
            <ac:spMk id="2134" creationId="{EEE8D064-D7CB-0486-6D6C-D8DCE717C255}"/>
          </ac:spMkLst>
        </pc:spChg>
        <pc:spChg chg="mod">
          <ac:chgData name="Jan K" userId="d066db4a5de46abf" providerId="LiveId" clId="{B1733AD1-BED1-4C71-B004-3296BFE0AA74}" dt="2024-11-21T17:29:28.202" v="544"/>
          <ac:spMkLst>
            <pc:docMk/>
            <pc:sldMk cId="4276762234" sldId="268"/>
            <ac:spMk id="2135" creationId="{51F080D6-5D1E-EEB9-8617-700D5A87EA81}"/>
          </ac:spMkLst>
        </pc:spChg>
        <pc:spChg chg="mod">
          <ac:chgData name="Jan K" userId="d066db4a5de46abf" providerId="LiveId" clId="{B1733AD1-BED1-4C71-B004-3296BFE0AA74}" dt="2024-11-21T17:29:28.202" v="544"/>
          <ac:spMkLst>
            <pc:docMk/>
            <pc:sldMk cId="4276762234" sldId="268"/>
            <ac:spMk id="2137" creationId="{631473B6-528C-92A1-D246-4F8B5D019E74}"/>
          </ac:spMkLst>
        </pc:spChg>
        <pc:spChg chg="mod">
          <ac:chgData name="Jan K" userId="d066db4a5de46abf" providerId="LiveId" clId="{B1733AD1-BED1-4C71-B004-3296BFE0AA74}" dt="2024-11-21T17:29:28.202" v="544"/>
          <ac:spMkLst>
            <pc:docMk/>
            <pc:sldMk cId="4276762234" sldId="268"/>
            <ac:spMk id="2146" creationId="{7153A05A-755F-4A3A-4619-C7C966396B33}"/>
          </ac:spMkLst>
        </pc:spChg>
        <pc:spChg chg="add mod">
          <ac:chgData name="Jan K" userId="d066db4a5de46abf" providerId="LiveId" clId="{B1733AD1-BED1-4C71-B004-3296BFE0AA74}" dt="2024-11-21T17:31:40.082" v="569" actId="164"/>
          <ac:spMkLst>
            <pc:docMk/>
            <pc:sldMk cId="4276762234" sldId="268"/>
            <ac:spMk id="2147" creationId="{D9BCF991-A381-FCED-D5CB-85A3DA07398A}"/>
          </ac:spMkLst>
        </pc:spChg>
        <pc:spChg chg="add mod">
          <ac:chgData name="Jan K" userId="d066db4a5de46abf" providerId="LiveId" clId="{B1733AD1-BED1-4C71-B004-3296BFE0AA74}" dt="2024-11-21T17:31:40.082" v="569" actId="164"/>
          <ac:spMkLst>
            <pc:docMk/>
            <pc:sldMk cId="4276762234" sldId="268"/>
            <ac:spMk id="2148" creationId="{03E8DF05-DF8B-1438-FD18-24C04D87E586}"/>
          </ac:spMkLst>
        </pc:spChg>
        <pc:spChg chg="mod">
          <ac:chgData name="Jan K" userId="d066db4a5de46abf" providerId="LiveId" clId="{B1733AD1-BED1-4C71-B004-3296BFE0AA74}" dt="2024-11-21T17:32:38.228" v="579"/>
          <ac:spMkLst>
            <pc:docMk/>
            <pc:sldMk cId="4276762234" sldId="268"/>
            <ac:spMk id="2155" creationId="{C0D37966-C29F-84D5-9986-D2678A5E2C50}"/>
          </ac:spMkLst>
        </pc:spChg>
        <pc:spChg chg="mod">
          <ac:chgData name="Jan K" userId="d066db4a5de46abf" providerId="LiveId" clId="{B1733AD1-BED1-4C71-B004-3296BFE0AA74}" dt="2024-11-21T17:32:38.228" v="579"/>
          <ac:spMkLst>
            <pc:docMk/>
            <pc:sldMk cId="4276762234" sldId="268"/>
            <ac:spMk id="2156" creationId="{6B48D7F4-7E92-94EE-15B9-1D52FC56A50B}"/>
          </ac:spMkLst>
        </pc:spChg>
        <pc:spChg chg="mod">
          <ac:chgData name="Jan K" userId="d066db4a5de46abf" providerId="LiveId" clId="{B1733AD1-BED1-4C71-B004-3296BFE0AA74}" dt="2024-11-21T17:32:43.470" v="581"/>
          <ac:spMkLst>
            <pc:docMk/>
            <pc:sldMk cId="4276762234" sldId="268"/>
            <ac:spMk id="2158" creationId="{127DD13F-A756-0FCD-3235-6524383490CE}"/>
          </ac:spMkLst>
        </pc:spChg>
        <pc:spChg chg="mod">
          <ac:chgData name="Jan K" userId="d066db4a5de46abf" providerId="LiveId" clId="{B1733AD1-BED1-4C71-B004-3296BFE0AA74}" dt="2024-11-21T17:32:43.470" v="581"/>
          <ac:spMkLst>
            <pc:docMk/>
            <pc:sldMk cId="4276762234" sldId="268"/>
            <ac:spMk id="2159" creationId="{3F4B11C5-5FAC-1164-92EE-32BB01BCBD18}"/>
          </ac:spMkLst>
        </pc:spChg>
        <pc:spChg chg="mod">
          <ac:chgData name="Jan K" userId="d066db4a5de46abf" providerId="LiveId" clId="{B1733AD1-BED1-4C71-B004-3296BFE0AA74}" dt="2024-11-21T21:47:34.215" v="758" actId="207"/>
          <ac:spMkLst>
            <pc:docMk/>
            <pc:sldMk cId="4276762234" sldId="268"/>
            <ac:spMk id="2164" creationId="{EB682DF9-19D8-5321-5058-1DDB1DED37DC}"/>
          </ac:spMkLst>
        </pc:spChg>
        <pc:spChg chg="mod">
          <ac:chgData name="Jan K" userId="d066db4a5de46abf" providerId="LiveId" clId="{B1733AD1-BED1-4C71-B004-3296BFE0AA74}" dt="2024-11-21T17:33:59.862" v="599"/>
          <ac:spMkLst>
            <pc:docMk/>
            <pc:sldMk cId="4276762234" sldId="268"/>
            <ac:spMk id="2165" creationId="{F0C44107-45C6-75D1-3A71-9B5C5598CBC3}"/>
          </ac:spMkLst>
        </pc:spChg>
        <pc:spChg chg="mod">
          <ac:chgData name="Jan K" userId="d066db4a5de46abf" providerId="LiveId" clId="{B1733AD1-BED1-4C71-B004-3296BFE0AA74}" dt="2024-11-21T17:33:59.862" v="599"/>
          <ac:spMkLst>
            <pc:docMk/>
            <pc:sldMk cId="4276762234" sldId="268"/>
            <ac:spMk id="2166" creationId="{AF7FA134-117D-F5DA-0904-57EA0D6D1281}"/>
          </ac:spMkLst>
        </pc:spChg>
        <pc:spChg chg="mod">
          <ac:chgData name="Jan K" userId="d066db4a5de46abf" providerId="LiveId" clId="{B1733AD1-BED1-4C71-B004-3296BFE0AA74}" dt="2024-11-21T17:33:59.862" v="599"/>
          <ac:spMkLst>
            <pc:docMk/>
            <pc:sldMk cId="4276762234" sldId="268"/>
            <ac:spMk id="2168" creationId="{FCB58EA0-3797-5B15-3C47-ACF5BE10B947}"/>
          </ac:spMkLst>
        </pc:spChg>
        <pc:spChg chg="mod">
          <ac:chgData name="Jan K" userId="d066db4a5de46abf" providerId="LiveId" clId="{B1733AD1-BED1-4C71-B004-3296BFE0AA74}" dt="2024-11-21T17:33:59.862" v="599"/>
          <ac:spMkLst>
            <pc:docMk/>
            <pc:sldMk cId="4276762234" sldId="268"/>
            <ac:spMk id="2169" creationId="{11E086BB-66CD-7203-B0E1-E85B53930121}"/>
          </ac:spMkLst>
        </pc:spChg>
        <pc:spChg chg="mod">
          <ac:chgData name="Jan K" userId="d066db4a5de46abf" providerId="LiveId" clId="{B1733AD1-BED1-4C71-B004-3296BFE0AA74}" dt="2024-11-21T17:50:27.143" v="727" actId="207"/>
          <ac:spMkLst>
            <pc:docMk/>
            <pc:sldMk cId="4276762234" sldId="268"/>
            <ac:spMk id="2171" creationId="{995F9B3B-5302-06E7-420A-DF77F97574E0}"/>
          </ac:spMkLst>
        </pc:spChg>
        <pc:spChg chg="mod">
          <ac:chgData name="Jan K" userId="d066db4a5de46abf" providerId="LiveId" clId="{B1733AD1-BED1-4C71-B004-3296BFE0AA74}" dt="2024-11-21T17:37:38.627" v="613"/>
          <ac:spMkLst>
            <pc:docMk/>
            <pc:sldMk cId="4276762234" sldId="268"/>
            <ac:spMk id="2172" creationId="{3D556605-09A1-CF10-2A25-6AA5FA043294}"/>
          </ac:spMkLst>
        </pc:spChg>
        <pc:spChg chg="mod">
          <ac:chgData name="Jan K" userId="d066db4a5de46abf" providerId="LiveId" clId="{B1733AD1-BED1-4C71-B004-3296BFE0AA74}" dt="2024-11-21T17:37:52.089" v="615"/>
          <ac:spMkLst>
            <pc:docMk/>
            <pc:sldMk cId="4276762234" sldId="268"/>
            <ac:spMk id="2174" creationId="{6F89A927-BBAE-CDD0-EEFB-84357BBFE89A}"/>
          </ac:spMkLst>
        </pc:spChg>
        <pc:spChg chg="mod">
          <ac:chgData name="Jan K" userId="d066db4a5de46abf" providerId="LiveId" clId="{B1733AD1-BED1-4C71-B004-3296BFE0AA74}" dt="2024-11-21T17:37:52.089" v="615"/>
          <ac:spMkLst>
            <pc:docMk/>
            <pc:sldMk cId="4276762234" sldId="268"/>
            <ac:spMk id="2175" creationId="{91605D9A-9E04-9CE2-067E-A60ED04E4C17}"/>
          </ac:spMkLst>
        </pc:spChg>
        <pc:spChg chg="add mod">
          <ac:chgData name="Jan K" userId="d066db4a5de46abf" providerId="LiveId" clId="{B1733AD1-BED1-4C71-B004-3296BFE0AA74}" dt="2024-11-21T17:50:32.772" v="728" actId="207"/>
          <ac:spMkLst>
            <pc:docMk/>
            <pc:sldMk cId="4276762234" sldId="268"/>
            <ac:spMk id="2176" creationId="{690C1A75-2AFE-D10C-5E0D-FCC8A18AC308}"/>
          </ac:spMkLst>
        </pc:spChg>
        <pc:spChg chg="add mod">
          <ac:chgData name="Jan K" userId="d066db4a5de46abf" providerId="LiveId" clId="{B1733AD1-BED1-4C71-B004-3296BFE0AA74}" dt="2024-11-21T17:38:33.220" v="626" actId="164"/>
          <ac:spMkLst>
            <pc:docMk/>
            <pc:sldMk cId="4276762234" sldId="268"/>
            <ac:spMk id="2177" creationId="{D30F5476-6A8A-7F66-64E8-4F34994753A3}"/>
          </ac:spMkLst>
        </pc:spChg>
        <pc:spChg chg="mod">
          <ac:chgData name="Jan K" userId="d066db4a5de46abf" providerId="LiveId" clId="{B1733AD1-BED1-4C71-B004-3296BFE0AA74}" dt="2024-11-21T17:41:57.228" v="664"/>
          <ac:spMkLst>
            <pc:docMk/>
            <pc:sldMk cId="4276762234" sldId="268"/>
            <ac:spMk id="2199" creationId="{05A0219E-77F8-3864-7E60-F1D4BC610413}"/>
          </ac:spMkLst>
        </pc:spChg>
        <pc:spChg chg="mod">
          <ac:chgData name="Jan K" userId="d066db4a5de46abf" providerId="LiveId" clId="{B1733AD1-BED1-4C71-B004-3296BFE0AA74}" dt="2024-11-21T17:41:57.228" v="664"/>
          <ac:spMkLst>
            <pc:docMk/>
            <pc:sldMk cId="4276762234" sldId="268"/>
            <ac:spMk id="2200" creationId="{DBBB03DD-C07E-9F64-EE1E-CBBE8ABA4935}"/>
          </ac:spMkLst>
        </pc:spChg>
        <pc:spChg chg="mod">
          <ac:chgData name="Jan K" userId="d066db4a5de46abf" providerId="LiveId" clId="{B1733AD1-BED1-4C71-B004-3296BFE0AA74}" dt="2024-11-21T17:42:01.735" v="666"/>
          <ac:spMkLst>
            <pc:docMk/>
            <pc:sldMk cId="4276762234" sldId="268"/>
            <ac:spMk id="2202" creationId="{BEF66062-01F3-CC9F-39C6-70130E170141}"/>
          </ac:spMkLst>
        </pc:spChg>
        <pc:spChg chg="mod">
          <ac:chgData name="Jan K" userId="d066db4a5de46abf" providerId="LiveId" clId="{B1733AD1-BED1-4C71-B004-3296BFE0AA74}" dt="2024-11-21T17:42:01.735" v="666"/>
          <ac:spMkLst>
            <pc:docMk/>
            <pc:sldMk cId="4276762234" sldId="268"/>
            <ac:spMk id="2203" creationId="{5269D095-5924-FB90-9EBD-0881A9567C35}"/>
          </ac:spMkLst>
        </pc:spChg>
        <pc:spChg chg="add del mod">
          <ac:chgData name="Jan K" userId="d066db4a5de46abf" providerId="LiveId" clId="{B1733AD1-BED1-4C71-B004-3296BFE0AA74}" dt="2024-11-21T17:42:20.854" v="671" actId="478"/>
          <ac:spMkLst>
            <pc:docMk/>
            <pc:sldMk cId="4276762234" sldId="268"/>
            <ac:spMk id="2204" creationId="{D7EA8177-2D11-E8A6-D884-631A91A7BF08}"/>
          </ac:spMkLst>
        </pc:spChg>
        <pc:spChg chg="add mod">
          <ac:chgData name="Jan K" userId="d066db4a5de46abf" providerId="LiveId" clId="{B1733AD1-BED1-4C71-B004-3296BFE0AA74}" dt="2024-11-21T17:42:37.331" v="680" actId="1076"/>
          <ac:spMkLst>
            <pc:docMk/>
            <pc:sldMk cId="4276762234" sldId="268"/>
            <ac:spMk id="2205" creationId="{23749D49-1688-2EB8-762F-11BD9E33DC27}"/>
          </ac:spMkLst>
        </pc:spChg>
        <pc:spChg chg="add del mod">
          <ac:chgData name="Jan K" userId="d066db4a5de46abf" providerId="LiveId" clId="{B1733AD1-BED1-4C71-B004-3296BFE0AA74}" dt="2024-11-21T17:43:03.516" v="683" actId="478"/>
          <ac:spMkLst>
            <pc:docMk/>
            <pc:sldMk cId="4276762234" sldId="268"/>
            <ac:spMk id="2206" creationId="{07A65DA2-06C0-A768-970B-BA2C59CFBC4A}"/>
          </ac:spMkLst>
        </pc:spChg>
        <pc:spChg chg="mod">
          <ac:chgData name="Jan K" userId="d066db4a5de46abf" providerId="LiveId" clId="{B1733AD1-BED1-4C71-B004-3296BFE0AA74}" dt="2024-11-21T17:44:17.291" v="693" actId="1076"/>
          <ac:spMkLst>
            <pc:docMk/>
            <pc:sldMk cId="4276762234" sldId="268"/>
            <ac:spMk id="2209" creationId="{3860DD4A-1FB7-4613-DDF9-53B06D38EDCB}"/>
          </ac:spMkLst>
        </pc:spChg>
        <pc:spChg chg="mod">
          <ac:chgData name="Jan K" userId="d066db4a5de46abf" providerId="LiveId" clId="{B1733AD1-BED1-4C71-B004-3296BFE0AA74}" dt="2024-11-21T17:44:25.288" v="694" actId="207"/>
          <ac:spMkLst>
            <pc:docMk/>
            <pc:sldMk cId="4276762234" sldId="268"/>
            <ac:spMk id="2210" creationId="{36292F30-7E65-D409-00A7-F225AE2862A7}"/>
          </ac:spMkLst>
        </pc:spChg>
        <pc:spChg chg="del mod">
          <ac:chgData name="Jan K" userId="d066db4a5de46abf" providerId="LiveId" clId="{B1733AD1-BED1-4C71-B004-3296BFE0AA74}" dt="2024-11-21T17:44:13.425" v="692" actId="478"/>
          <ac:spMkLst>
            <pc:docMk/>
            <pc:sldMk cId="4276762234" sldId="268"/>
            <ac:spMk id="2211" creationId="{E850CE8A-BA8D-7338-E816-9311321AE074}"/>
          </ac:spMkLst>
        </pc:spChg>
        <pc:spChg chg="mod">
          <ac:chgData name="Jan K" userId="d066db4a5de46abf" providerId="LiveId" clId="{B1733AD1-BED1-4C71-B004-3296BFE0AA74}" dt="2024-11-21T17:43:52.340" v="684"/>
          <ac:spMkLst>
            <pc:docMk/>
            <pc:sldMk cId="4276762234" sldId="268"/>
            <ac:spMk id="2213" creationId="{1ED2A21E-AA81-B3DE-FE54-4EE9F48B63BB}"/>
          </ac:spMkLst>
        </pc:spChg>
        <pc:spChg chg="del mod">
          <ac:chgData name="Jan K" userId="d066db4a5de46abf" providerId="LiveId" clId="{B1733AD1-BED1-4C71-B004-3296BFE0AA74}" dt="2024-11-21T17:44:10.860" v="691" actId="478"/>
          <ac:spMkLst>
            <pc:docMk/>
            <pc:sldMk cId="4276762234" sldId="268"/>
            <ac:spMk id="2214" creationId="{E9DB9F20-B10A-112D-A040-B0DA4569FC52}"/>
          </ac:spMkLst>
        </pc:spChg>
        <pc:spChg chg="mod">
          <ac:chgData name="Jan K" userId="d066db4a5de46abf" providerId="LiveId" clId="{B1733AD1-BED1-4C71-B004-3296BFE0AA74}" dt="2024-11-21T17:52:23.625" v="741" actId="20577"/>
          <ac:spMkLst>
            <pc:docMk/>
            <pc:sldMk cId="4276762234" sldId="268"/>
            <ac:spMk id="2236" creationId="{998C3477-CE09-9CDB-BABE-EE3D7CC20E36}"/>
          </ac:spMkLst>
        </pc:spChg>
        <pc:spChg chg="mod">
          <ac:chgData name="Jan K" userId="d066db4a5de46abf" providerId="LiveId" clId="{B1733AD1-BED1-4C71-B004-3296BFE0AA74}" dt="2024-11-21T17:52:16.377" v="734"/>
          <ac:spMkLst>
            <pc:docMk/>
            <pc:sldMk cId="4276762234" sldId="268"/>
            <ac:spMk id="2237" creationId="{62538772-B10C-55F0-B224-6FD73A4B10BE}"/>
          </ac:spMkLst>
        </pc:spChg>
        <pc:spChg chg="mod">
          <ac:chgData name="Jan K" userId="d066db4a5de46abf" providerId="LiveId" clId="{B1733AD1-BED1-4C71-B004-3296BFE0AA74}" dt="2024-11-21T17:52:16.377" v="734"/>
          <ac:spMkLst>
            <pc:docMk/>
            <pc:sldMk cId="4276762234" sldId="268"/>
            <ac:spMk id="2238" creationId="{C0AC5AB6-C642-E9DE-C99E-CE721A7440C1}"/>
          </ac:spMkLst>
        </pc:spChg>
        <pc:spChg chg="add mod">
          <ac:chgData name="Jan K" userId="d066db4a5de46abf" providerId="LiveId" clId="{B1733AD1-BED1-4C71-B004-3296BFE0AA74}" dt="2024-11-21T17:52:36.248" v="744" actId="1076"/>
          <ac:spMkLst>
            <pc:docMk/>
            <pc:sldMk cId="4276762234" sldId="268"/>
            <ac:spMk id="2240" creationId="{B17B01D7-EDAD-CCBA-0798-CB71440D843D}"/>
          </ac:spMkLst>
        </pc:spChg>
        <pc:spChg chg="add mod">
          <ac:chgData name="Jan K" userId="d066db4a5de46abf" providerId="LiveId" clId="{B1733AD1-BED1-4C71-B004-3296BFE0AA74}" dt="2024-11-21T17:52:36.248" v="744" actId="1076"/>
          <ac:spMkLst>
            <pc:docMk/>
            <pc:sldMk cId="4276762234" sldId="268"/>
            <ac:spMk id="2241" creationId="{402BC2F4-8CD0-7114-7989-1921C86398E9}"/>
          </ac:spMkLst>
        </pc:spChg>
        <pc:grpChg chg="mod">
          <ac:chgData name="Jan K" userId="d066db4a5de46abf" providerId="LiveId" clId="{B1733AD1-BED1-4C71-B004-3296BFE0AA74}" dt="2024-11-21T17:23:09.513" v="458" actId="164"/>
          <ac:grpSpMkLst>
            <pc:docMk/>
            <pc:sldMk cId="4276762234" sldId="268"/>
            <ac:grpSpMk id="18" creationId="{BB0D5AE2-59E0-3A82-5B29-C51F8BD76A95}"/>
          </ac:grpSpMkLst>
        </pc:grpChg>
        <pc:grpChg chg="del">
          <ac:chgData name="Jan K" userId="d066db4a5de46abf" providerId="LiveId" clId="{B1733AD1-BED1-4C71-B004-3296BFE0AA74}" dt="2024-11-21T17:24:43.073" v="474" actId="478"/>
          <ac:grpSpMkLst>
            <pc:docMk/>
            <pc:sldMk cId="4276762234" sldId="268"/>
            <ac:grpSpMk id="30" creationId="{3CF10AE3-1F7B-368B-E611-4C9BC81AC1F5}"/>
          </ac:grpSpMkLst>
        </pc:grpChg>
        <pc:grpChg chg="add mod">
          <ac:chgData name="Jan K" userId="d066db4a5de46abf" providerId="LiveId" clId="{B1733AD1-BED1-4C71-B004-3296BFE0AA74}" dt="2024-11-21T17:23:11.692" v="459" actId="1076"/>
          <ac:grpSpMkLst>
            <pc:docMk/>
            <pc:sldMk cId="4276762234" sldId="268"/>
            <ac:grpSpMk id="31" creationId="{7D9815B8-ADC3-39E7-2771-6BCFA2030DE1}"/>
          </ac:grpSpMkLst>
        </pc:grpChg>
        <pc:grpChg chg="add mod">
          <ac:chgData name="Jan K" userId="d066db4a5de46abf" providerId="LiveId" clId="{B1733AD1-BED1-4C71-B004-3296BFE0AA74}" dt="2024-11-21T21:47:24.747" v="756" actId="1076"/>
          <ac:grpSpMkLst>
            <pc:docMk/>
            <pc:sldMk cId="4276762234" sldId="268"/>
            <ac:grpSpMk id="32" creationId="{57B409E6-3309-EC2D-8F12-C04F0CD27253}"/>
          </ac:grpSpMkLst>
        </pc:grpChg>
        <pc:grpChg chg="add mod">
          <ac:chgData name="Jan K" userId="d066db4a5de46abf" providerId="LiveId" clId="{B1733AD1-BED1-4C71-B004-3296BFE0AA74}" dt="2024-11-21T17:25:51.545" v="489" actId="1076"/>
          <ac:grpSpMkLst>
            <pc:docMk/>
            <pc:sldMk cId="4276762234" sldId="268"/>
            <ac:grpSpMk id="40" creationId="{5E4978E3-336D-4024-0776-059023285CD8}"/>
          </ac:grpSpMkLst>
        </pc:grpChg>
        <pc:grpChg chg="mod">
          <ac:chgData name="Jan K" userId="d066db4a5de46abf" providerId="LiveId" clId="{B1733AD1-BED1-4C71-B004-3296BFE0AA74}" dt="2024-11-21T17:25:11.579" v="478"/>
          <ac:grpSpMkLst>
            <pc:docMk/>
            <pc:sldMk cId="4276762234" sldId="268"/>
            <ac:grpSpMk id="45" creationId="{4604E433-A236-505E-0E0F-74AD0E2FDEE7}"/>
          </ac:grpSpMkLst>
        </pc:grpChg>
        <pc:grpChg chg="mod">
          <ac:chgData name="Jan K" userId="d066db4a5de46abf" providerId="LiveId" clId="{B1733AD1-BED1-4C71-B004-3296BFE0AA74}" dt="2024-11-21T17:24:32.711" v="468" actId="1076"/>
          <ac:grpSpMkLst>
            <pc:docMk/>
            <pc:sldMk cId="4276762234" sldId="268"/>
            <ac:grpSpMk id="48" creationId="{797D9C91-E8DE-E213-8F26-B94BA249A7EA}"/>
          </ac:grpSpMkLst>
        </pc:grpChg>
        <pc:grpChg chg="mod">
          <ac:chgData name="Jan K" userId="d066db4a5de46abf" providerId="LiveId" clId="{B1733AD1-BED1-4C71-B004-3296BFE0AA74}" dt="2024-11-21T17:25:11.579" v="478"/>
          <ac:grpSpMkLst>
            <pc:docMk/>
            <pc:sldMk cId="4276762234" sldId="268"/>
            <ac:grpSpMk id="2049" creationId="{5C50A74C-B677-056E-B863-2C68458F3C6D}"/>
          </ac:grpSpMkLst>
        </pc:grpChg>
        <pc:grpChg chg="add mod">
          <ac:chgData name="Jan K" userId="d066db4a5de46abf" providerId="LiveId" clId="{B1733AD1-BED1-4C71-B004-3296BFE0AA74}" dt="2024-11-21T17:33:44.453" v="598" actId="1076"/>
          <ac:grpSpMkLst>
            <pc:docMk/>
            <pc:sldMk cId="4276762234" sldId="268"/>
            <ac:grpSpMk id="2058" creationId="{A1A191A2-36B7-4AC5-74A7-24FADE34F624}"/>
          </ac:grpSpMkLst>
        </pc:grpChg>
        <pc:grpChg chg="mod">
          <ac:chgData name="Jan K" userId="d066db4a5de46abf" providerId="LiveId" clId="{B1733AD1-BED1-4C71-B004-3296BFE0AA74}" dt="2024-11-21T17:26:34.735" v="495"/>
          <ac:grpSpMkLst>
            <pc:docMk/>
            <pc:sldMk cId="4276762234" sldId="268"/>
            <ac:grpSpMk id="2060" creationId="{C6D0DD7C-8E67-35F7-F13E-34F6F180BB53}"/>
          </ac:grpSpMkLst>
        </pc:grpChg>
        <pc:grpChg chg="mod">
          <ac:chgData name="Jan K" userId="d066db4a5de46abf" providerId="LiveId" clId="{B1733AD1-BED1-4C71-B004-3296BFE0AA74}" dt="2024-11-21T17:26:34.735" v="495"/>
          <ac:grpSpMkLst>
            <pc:docMk/>
            <pc:sldMk cId="4276762234" sldId="268"/>
            <ac:grpSpMk id="2065" creationId="{0D441A35-B729-C23E-7818-B52A4BBCDE8E}"/>
          </ac:grpSpMkLst>
        </pc:grpChg>
        <pc:grpChg chg="add mod">
          <ac:chgData name="Jan K" userId="d066db4a5de46abf" providerId="LiveId" clId="{B1733AD1-BED1-4C71-B004-3296BFE0AA74}" dt="2024-11-21T17:38:49.459" v="629" actId="1076"/>
          <ac:grpSpMkLst>
            <pc:docMk/>
            <pc:sldMk cId="4276762234" sldId="268"/>
            <ac:grpSpMk id="2080" creationId="{2049DC23-64E3-93DF-11B0-FAB5E09589D5}"/>
          </ac:grpSpMkLst>
        </pc:grpChg>
        <pc:grpChg chg="mod">
          <ac:chgData name="Jan K" userId="d066db4a5de46abf" providerId="LiveId" clId="{B1733AD1-BED1-4C71-B004-3296BFE0AA74}" dt="2024-11-21T17:27:07.833" v="508"/>
          <ac:grpSpMkLst>
            <pc:docMk/>
            <pc:sldMk cId="4276762234" sldId="268"/>
            <ac:grpSpMk id="2084" creationId="{609D72EB-3DB5-6938-3EF7-28E4ECAD56CC}"/>
          </ac:grpSpMkLst>
        </pc:grpChg>
        <pc:grpChg chg="del mod">
          <ac:chgData name="Jan K" userId="d066db4a5de46abf" providerId="LiveId" clId="{B1733AD1-BED1-4C71-B004-3296BFE0AA74}" dt="2024-11-21T17:27:47.735" v="523" actId="478"/>
          <ac:grpSpMkLst>
            <pc:docMk/>
            <pc:sldMk cId="4276762234" sldId="268"/>
            <ac:grpSpMk id="2090" creationId="{15C05615-1DE0-87A1-C010-451AC15AA88A}"/>
          </ac:grpSpMkLst>
        </pc:grpChg>
        <pc:grpChg chg="add del mod">
          <ac:chgData name="Jan K" userId="d066db4a5de46abf" providerId="LiveId" clId="{B1733AD1-BED1-4C71-B004-3296BFE0AA74}" dt="2024-11-21T17:28:31.089" v="530" actId="165"/>
          <ac:grpSpMkLst>
            <pc:docMk/>
            <pc:sldMk cId="4276762234" sldId="268"/>
            <ac:grpSpMk id="2099" creationId="{26A52320-5E74-5B90-29F3-1BF7E7D1D6A0}"/>
          </ac:grpSpMkLst>
        </pc:grpChg>
        <pc:grpChg chg="del mod topLvl">
          <ac:chgData name="Jan K" userId="d066db4a5de46abf" providerId="LiveId" clId="{B1733AD1-BED1-4C71-B004-3296BFE0AA74}" dt="2024-11-21T17:28:51.804" v="535" actId="478"/>
          <ac:grpSpMkLst>
            <pc:docMk/>
            <pc:sldMk cId="4276762234" sldId="268"/>
            <ac:grpSpMk id="2102" creationId="{93C421DC-5879-B59E-1957-E48DB7EA6FE0}"/>
          </ac:grpSpMkLst>
        </pc:grpChg>
        <pc:grpChg chg="add mod">
          <ac:chgData name="Jan K" userId="d066db4a5de46abf" providerId="LiveId" clId="{B1733AD1-BED1-4C71-B004-3296BFE0AA74}" dt="2024-11-21T17:39:14.235" v="636" actId="1076"/>
          <ac:grpSpMkLst>
            <pc:docMk/>
            <pc:sldMk cId="4276762234" sldId="268"/>
            <ac:grpSpMk id="2107" creationId="{9A0259D9-2345-3B49-486F-CC9CB146E5A3}"/>
          </ac:grpSpMkLst>
        </pc:grpChg>
        <pc:grpChg chg="add mod">
          <ac:chgData name="Jan K" userId="d066db4a5de46abf" providerId="LiveId" clId="{B1733AD1-BED1-4C71-B004-3296BFE0AA74}" dt="2024-11-21T17:38:58.509" v="633" actId="1076"/>
          <ac:grpSpMkLst>
            <pc:docMk/>
            <pc:sldMk cId="4276762234" sldId="268"/>
            <ac:grpSpMk id="2108" creationId="{32ECAEDF-20DF-8808-7AD6-18DB353C48D7}"/>
          </ac:grpSpMkLst>
        </pc:grpChg>
        <pc:grpChg chg="add mod">
          <ac:chgData name="Jan K" userId="d066db4a5de46abf" providerId="LiveId" clId="{B1733AD1-BED1-4C71-B004-3296BFE0AA74}" dt="2024-11-21T17:29:23.203" v="543" actId="688"/>
          <ac:grpSpMkLst>
            <pc:docMk/>
            <pc:sldMk cId="4276762234" sldId="268"/>
            <ac:grpSpMk id="2112" creationId="{67EFE831-A0CC-2D3C-5234-27BB78C9F001}"/>
          </ac:grpSpMkLst>
        </pc:grpChg>
        <pc:grpChg chg="mod">
          <ac:chgData name="Jan K" userId="d066db4a5de46abf" providerId="LiveId" clId="{B1733AD1-BED1-4C71-B004-3296BFE0AA74}" dt="2024-11-21T17:29:18.680" v="541"/>
          <ac:grpSpMkLst>
            <pc:docMk/>
            <pc:sldMk cId="4276762234" sldId="268"/>
            <ac:grpSpMk id="2125" creationId="{E55D0E19-619A-1157-E361-56EB2245FD31}"/>
          </ac:grpSpMkLst>
        </pc:grpChg>
        <pc:grpChg chg="add mod">
          <ac:chgData name="Jan K" userId="d066db4a5de46abf" providerId="LiveId" clId="{B1733AD1-BED1-4C71-B004-3296BFE0AA74}" dt="2024-11-21T17:31:40.082" v="569" actId="164"/>
          <ac:grpSpMkLst>
            <pc:docMk/>
            <pc:sldMk cId="4276762234" sldId="268"/>
            <ac:grpSpMk id="2129" creationId="{C3D2DE59-EFCF-14E6-939F-A4EAD08F06D5}"/>
          </ac:grpSpMkLst>
        </pc:grpChg>
        <pc:grpChg chg="mod">
          <ac:chgData name="Jan K" userId="d066db4a5de46abf" providerId="LiveId" clId="{B1733AD1-BED1-4C71-B004-3296BFE0AA74}" dt="2024-11-21T17:29:28.202" v="544"/>
          <ac:grpSpMkLst>
            <pc:docMk/>
            <pc:sldMk cId="4276762234" sldId="268"/>
            <ac:grpSpMk id="2131" creationId="{4689E236-FBDC-DF4E-4549-77BDD7C8A6B5}"/>
          </ac:grpSpMkLst>
        </pc:grpChg>
        <pc:grpChg chg="mod">
          <ac:chgData name="Jan K" userId="d066db4a5de46abf" providerId="LiveId" clId="{B1733AD1-BED1-4C71-B004-3296BFE0AA74}" dt="2024-11-21T17:29:28.202" v="544"/>
          <ac:grpSpMkLst>
            <pc:docMk/>
            <pc:sldMk cId="4276762234" sldId="268"/>
            <ac:grpSpMk id="2136" creationId="{DB805CDB-CBC7-A09D-5192-98D6D76653F5}"/>
          </ac:grpSpMkLst>
        </pc:grpChg>
        <pc:grpChg chg="del">
          <ac:chgData name="Jan K" userId="d066db4a5de46abf" providerId="LiveId" clId="{B1733AD1-BED1-4C71-B004-3296BFE0AA74}" dt="2024-11-21T17:24:44.188" v="475" actId="478"/>
          <ac:grpSpMkLst>
            <pc:docMk/>
            <pc:sldMk cId="4276762234" sldId="268"/>
            <ac:grpSpMk id="2138" creationId="{DC19F3CD-7131-CEE4-9241-3A5FA8BFABFD}"/>
          </ac:grpSpMkLst>
        </pc:grpChg>
        <pc:grpChg chg="add mod ord">
          <ac:chgData name="Jan K" userId="d066db4a5de46abf" providerId="LiveId" clId="{B1733AD1-BED1-4C71-B004-3296BFE0AA74}" dt="2024-11-21T17:33:28.919" v="596" actId="166"/>
          <ac:grpSpMkLst>
            <pc:docMk/>
            <pc:sldMk cId="4276762234" sldId="268"/>
            <ac:grpSpMk id="2149" creationId="{C16E52BF-DE6B-554B-2458-EB64129835B4}"/>
          </ac:grpSpMkLst>
        </pc:grpChg>
        <pc:grpChg chg="add mod">
          <ac:chgData name="Jan K" userId="d066db4a5de46abf" providerId="LiveId" clId="{B1733AD1-BED1-4C71-B004-3296BFE0AA74}" dt="2024-11-21T17:49:05.972" v="719" actId="1076"/>
          <ac:grpSpMkLst>
            <pc:docMk/>
            <pc:sldMk cId="4276762234" sldId="268"/>
            <ac:grpSpMk id="2154" creationId="{2FB57093-0FA4-FEF3-E145-C3F3DBD3A89D}"/>
          </ac:grpSpMkLst>
        </pc:grpChg>
        <pc:grpChg chg="add mod">
          <ac:chgData name="Jan K" userId="d066db4a5de46abf" providerId="LiveId" clId="{B1733AD1-BED1-4C71-B004-3296BFE0AA74}" dt="2024-11-21T17:32:46.719" v="582" actId="1076"/>
          <ac:grpSpMkLst>
            <pc:docMk/>
            <pc:sldMk cId="4276762234" sldId="268"/>
            <ac:grpSpMk id="2157" creationId="{B9D0B547-A4C5-9D00-DDAB-2D2923D72301}"/>
          </ac:grpSpMkLst>
        </pc:grpChg>
        <pc:grpChg chg="add mod">
          <ac:chgData name="Jan K" userId="d066db4a5de46abf" providerId="LiveId" clId="{B1733AD1-BED1-4C71-B004-3296BFE0AA74}" dt="2024-11-21T21:47:08.821" v="753" actId="164"/>
          <ac:grpSpMkLst>
            <pc:docMk/>
            <pc:sldMk cId="4276762234" sldId="268"/>
            <ac:grpSpMk id="2162" creationId="{38E2D0FC-C6D8-132F-29AE-F631812012B1}"/>
          </ac:grpSpMkLst>
        </pc:grpChg>
        <pc:grpChg chg="mod">
          <ac:chgData name="Jan K" userId="d066db4a5de46abf" providerId="LiveId" clId="{B1733AD1-BED1-4C71-B004-3296BFE0AA74}" dt="2024-11-21T17:33:59.862" v="599"/>
          <ac:grpSpMkLst>
            <pc:docMk/>
            <pc:sldMk cId="4276762234" sldId="268"/>
            <ac:grpSpMk id="2163" creationId="{B56BA1E4-CE27-E63F-459D-791D5DAAA296}"/>
          </ac:grpSpMkLst>
        </pc:grpChg>
        <pc:grpChg chg="mod">
          <ac:chgData name="Jan K" userId="d066db4a5de46abf" providerId="LiveId" clId="{B1733AD1-BED1-4C71-B004-3296BFE0AA74}" dt="2024-11-21T17:33:59.862" v="599"/>
          <ac:grpSpMkLst>
            <pc:docMk/>
            <pc:sldMk cId="4276762234" sldId="268"/>
            <ac:grpSpMk id="2167" creationId="{E8EBF5CC-8259-66FD-6FC2-7309F7A032B8}"/>
          </ac:grpSpMkLst>
        </pc:grpChg>
        <pc:grpChg chg="add mod">
          <ac:chgData name="Jan K" userId="d066db4a5de46abf" providerId="LiveId" clId="{B1733AD1-BED1-4C71-B004-3296BFE0AA74}" dt="2024-11-21T17:47:02.745" v="713" actId="1076"/>
          <ac:grpSpMkLst>
            <pc:docMk/>
            <pc:sldMk cId="4276762234" sldId="268"/>
            <ac:grpSpMk id="2170" creationId="{2BCDC050-4CA7-EA76-54F0-FCA202808C87}"/>
          </ac:grpSpMkLst>
        </pc:grpChg>
        <pc:grpChg chg="add del mod">
          <ac:chgData name="Jan K" userId="d066db4a5de46abf" providerId="LiveId" clId="{B1733AD1-BED1-4C71-B004-3296BFE0AA74}" dt="2024-11-21T17:38:19.915" v="619" actId="478"/>
          <ac:grpSpMkLst>
            <pc:docMk/>
            <pc:sldMk cId="4276762234" sldId="268"/>
            <ac:grpSpMk id="2173" creationId="{9D1E872D-8631-9874-9BC8-32563F31074F}"/>
          </ac:grpSpMkLst>
        </pc:grpChg>
        <pc:grpChg chg="add mod">
          <ac:chgData name="Jan K" userId="d066db4a5de46abf" providerId="LiveId" clId="{B1733AD1-BED1-4C71-B004-3296BFE0AA74}" dt="2024-11-21T17:47:04.716" v="714" actId="1076"/>
          <ac:grpSpMkLst>
            <pc:docMk/>
            <pc:sldMk cId="4276762234" sldId="268"/>
            <ac:grpSpMk id="2178" creationId="{A7EFE875-7F6D-E317-E703-4F25F1A0CF5B}"/>
          </ac:grpSpMkLst>
        </pc:grpChg>
        <pc:grpChg chg="add mod">
          <ac:chgData name="Jan K" userId="d066db4a5de46abf" providerId="LiveId" clId="{B1733AD1-BED1-4C71-B004-3296BFE0AA74}" dt="2024-11-21T17:42:01.044" v="665" actId="1076"/>
          <ac:grpSpMkLst>
            <pc:docMk/>
            <pc:sldMk cId="4276762234" sldId="268"/>
            <ac:grpSpMk id="2198" creationId="{5E82AC15-8123-5D4B-6CCC-AACA673DC3CB}"/>
          </ac:grpSpMkLst>
        </pc:grpChg>
        <pc:grpChg chg="add mod">
          <ac:chgData name="Jan K" userId="d066db4a5de46abf" providerId="LiveId" clId="{B1733AD1-BED1-4C71-B004-3296BFE0AA74}" dt="2024-11-21T17:42:04.386" v="667" actId="1076"/>
          <ac:grpSpMkLst>
            <pc:docMk/>
            <pc:sldMk cId="4276762234" sldId="268"/>
            <ac:grpSpMk id="2201" creationId="{DBCBE3D8-C645-90AC-5AAB-4DE3AB12A1FF}"/>
          </ac:grpSpMkLst>
        </pc:grpChg>
        <pc:grpChg chg="add mod">
          <ac:chgData name="Jan K" userId="d066db4a5de46abf" providerId="LiveId" clId="{B1733AD1-BED1-4C71-B004-3296BFE0AA74}" dt="2024-11-21T17:44:53.978" v="699" actId="1076"/>
          <ac:grpSpMkLst>
            <pc:docMk/>
            <pc:sldMk cId="4276762234" sldId="268"/>
            <ac:grpSpMk id="2207" creationId="{865922E1-69BA-E8A2-241C-31BB8D723CF3}"/>
          </ac:grpSpMkLst>
        </pc:grpChg>
        <pc:grpChg chg="mod">
          <ac:chgData name="Jan K" userId="d066db4a5de46abf" providerId="LiveId" clId="{B1733AD1-BED1-4C71-B004-3296BFE0AA74}" dt="2024-11-21T17:43:52.340" v="684"/>
          <ac:grpSpMkLst>
            <pc:docMk/>
            <pc:sldMk cId="4276762234" sldId="268"/>
            <ac:grpSpMk id="2208" creationId="{027F1F63-2371-C7C2-ACF9-33791E38F8B5}"/>
          </ac:grpSpMkLst>
        </pc:grpChg>
        <pc:grpChg chg="del mod">
          <ac:chgData name="Jan K" userId="d066db4a5de46abf" providerId="LiveId" clId="{B1733AD1-BED1-4C71-B004-3296BFE0AA74}" dt="2024-11-21T17:44:10.860" v="691" actId="478"/>
          <ac:grpSpMkLst>
            <pc:docMk/>
            <pc:sldMk cId="4276762234" sldId="268"/>
            <ac:grpSpMk id="2212" creationId="{620D1CE8-B1DC-3BE2-1DD0-6B1A3E52FBC3}"/>
          </ac:grpSpMkLst>
        </pc:grpChg>
        <pc:grpChg chg="add mod">
          <ac:chgData name="Jan K" userId="d066db4a5de46abf" providerId="LiveId" clId="{B1733AD1-BED1-4C71-B004-3296BFE0AA74}" dt="2024-11-21T17:52:19.353" v="735" actId="1076"/>
          <ac:grpSpMkLst>
            <pc:docMk/>
            <pc:sldMk cId="4276762234" sldId="268"/>
            <ac:grpSpMk id="2234" creationId="{03B7F013-BD35-D5A4-B20D-8FE24C30004C}"/>
          </ac:grpSpMkLst>
        </pc:grpChg>
        <pc:grpChg chg="mod">
          <ac:chgData name="Jan K" userId="d066db4a5de46abf" providerId="LiveId" clId="{B1733AD1-BED1-4C71-B004-3296BFE0AA74}" dt="2024-11-21T17:52:16.377" v="734"/>
          <ac:grpSpMkLst>
            <pc:docMk/>
            <pc:sldMk cId="4276762234" sldId="268"/>
            <ac:grpSpMk id="2235" creationId="{DDA20774-F3EC-EFC4-1B76-A17B6660CFDC}"/>
          </ac:grpSpMkLst>
        </pc:grpChg>
        <pc:picChg chg="mod">
          <ac:chgData name="Jan K" userId="d066db4a5de46abf" providerId="LiveId" clId="{B1733AD1-BED1-4C71-B004-3296BFE0AA74}" dt="2024-11-21T17:44:36.323" v="696" actId="1076"/>
          <ac:picMkLst>
            <pc:docMk/>
            <pc:sldMk cId="4276762234" sldId="268"/>
            <ac:picMk id="2050" creationId="{91EEF778-90D5-E970-8791-694965EC3327}"/>
          </ac:picMkLst>
        </pc:picChg>
        <pc:cxnChg chg="del">
          <ac:chgData name="Jan K" userId="d066db4a5de46abf" providerId="LiveId" clId="{B1733AD1-BED1-4C71-B004-3296BFE0AA74}" dt="2024-11-21T17:24:35.479" v="470" actId="478"/>
          <ac:cxnSpMkLst>
            <pc:docMk/>
            <pc:sldMk cId="4276762234" sldId="268"/>
            <ac:cxnSpMk id="2" creationId="{8A582AC3-4A9A-840B-25A7-C90CD1484680}"/>
          </ac:cxnSpMkLst>
        </pc:cxnChg>
        <pc:cxnChg chg="mod">
          <ac:chgData name="Jan K" userId="d066db4a5de46abf" providerId="LiveId" clId="{B1733AD1-BED1-4C71-B004-3296BFE0AA74}" dt="2024-11-21T17:30:04.730" v="547" actId="1076"/>
          <ac:cxnSpMkLst>
            <pc:docMk/>
            <pc:sldMk cId="4276762234" sldId="268"/>
            <ac:cxnSpMk id="3" creationId="{4CF47424-1CEE-A9E0-BB7C-5108034C1B34}"/>
          </ac:cxnSpMkLst>
        </pc:cxnChg>
        <pc:cxnChg chg="add mod">
          <ac:chgData name="Jan K" userId="d066db4a5de46abf" providerId="LiveId" clId="{B1733AD1-BED1-4C71-B004-3296BFE0AA74}" dt="2024-11-21T21:47:50.198" v="762" actId="14100"/>
          <ac:cxnSpMkLst>
            <pc:docMk/>
            <pc:sldMk cId="4276762234" sldId="268"/>
            <ac:cxnSpMk id="33" creationId="{1C50437B-961F-FB73-3B88-51E1612B34E9}"/>
          </ac:cxnSpMkLst>
        </pc:cxnChg>
        <pc:cxnChg chg="del">
          <ac:chgData name="Jan K" userId="d066db4a5de46abf" providerId="LiveId" clId="{B1733AD1-BED1-4C71-B004-3296BFE0AA74}" dt="2024-11-21T17:24:35.996" v="471" actId="478"/>
          <ac:cxnSpMkLst>
            <pc:docMk/>
            <pc:sldMk cId="4276762234" sldId="268"/>
            <ac:cxnSpMk id="43" creationId="{0DC414E3-9E23-4C41-838F-07A6777E97BA}"/>
          </ac:cxnSpMkLst>
        </pc:cxnChg>
        <pc:cxnChg chg="del">
          <ac:chgData name="Jan K" userId="d066db4a5de46abf" providerId="LiveId" clId="{B1733AD1-BED1-4C71-B004-3296BFE0AA74}" dt="2024-11-21T17:24:38.331" v="473" actId="478"/>
          <ac:cxnSpMkLst>
            <pc:docMk/>
            <pc:sldMk cId="4276762234" sldId="268"/>
            <ac:cxnSpMk id="47" creationId="{DBE2EDA4-40CD-EA2C-3B14-CCAC5B1DFBA2}"/>
          </ac:cxnSpMkLst>
        </pc:cxnChg>
        <pc:cxnChg chg="add mod">
          <ac:chgData name="Jan K" userId="d066db4a5de46abf" providerId="LiveId" clId="{B1733AD1-BED1-4C71-B004-3296BFE0AA74}" dt="2024-11-21T17:41:53.320" v="663" actId="14100"/>
          <ac:cxnSpMkLst>
            <pc:docMk/>
            <pc:sldMk cId="4276762234" sldId="268"/>
            <ac:cxnSpMk id="2057" creationId="{2FEC677A-07DD-504B-4684-7524B114E35E}"/>
          </ac:cxnSpMkLst>
        </pc:cxnChg>
        <pc:cxnChg chg="mod">
          <ac:chgData name="Jan K" userId="d066db4a5de46abf" providerId="LiveId" clId="{B1733AD1-BED1-4C71-B004-3296BFE0AA74}" dt="2024-11-21T17:24:32.711" v="468" actId="1076"/>
          <ac:cxnSpMkLst>
            <pc:docMk/>
            <pc:sldMk cId="4276762234" sldId="268"/>
            <ac:cxnSpMk id="2087" creationId="{3271340A-963A-9E24-B05E-88DC29097AED}"/>
          </ac:cxnSpMkLst>
        </pc:cxnChg>
        <pc:cxnChg chg="add del mod">
          <ac:chgData name="Jan K" userId="d066db4a5de46abf" providerId="LiveId" clId="{B1733AD1-BED1-4C71-B004-3296BFE0AA74}" dt="2024-11-21T17:40:15.198" v="654" actId="478"/>
          <ac:cxnSpMkLst>
            <pc:docMk/>
            <pc:sldMk cId="4276762234" sldId="268"/>
            <ac:cxnSpMk id="2095" creationId="{0745B8EA-44DE-894C-555B-83C34AF952B9}"/>
          </ac:cxnSpMkLst>
        </pc:cxnChg>
        <pc:cxnChg chg="del">
          <ac:chgData name="Jan K" userId="d066db4a5de46abf" providerId="LiveId" clId="{B1733AD1-BED1-4C71-B004-3296BFE0AA74}" dt="2024-11-21T17:24:12.935" v="465" actId="478"/>
          <ac:cxnSpMkLst>
            <pc:docMk/>
            <pc:sldMk cId="4276762234" sldId="268"/>
            <ac:cxnSpMk id="2096" creationId="{7AC7213F-F78C-BC99-90C5-070ED8CE3543}"/>
          </ac:cxnSpMkLst>
        </pc:cxnChg>
        <pc:cxnChg chg="del">
          <ac:chgData name="Jan K" userId="d066db4a5de46abf" providerId="LiveId" clId="{B1733AD1-BED1-4C71-B004-3296BFE0AA74}" dt="2024-11-21T17:24:11.759" v="464" actId="478"/>
          <ac:cxnSpMkLst>
            <pc:docMk/>
            <pc:sldMk cId="4276762234" sldId="268"/>
            <ac:cxnSpMk id="2098" creationId="{FCA3266F-B9EC-0AAB-3747-391B192356E2}"/>
          </ac:cxnSpMkLst>
        </pc:cxnChg>
        <pc:cxnChg chg="del">
          <ac:chgData name="Jan K" userId="d066db4a5de46abf" providerId="LiveId" clId="{B1733AD1-BED1-4C71-B004-3296BFE0AA74}" dt="2024-11-21T17:27:34.623" v="519" actId="478"/>
          <ac:cxnSpMkLst>
            <pc:docMk/>
            <pc:sldMk cId="4276762234" sldId="268"/>
            <ac:cxnSpMk id="2104" creationId="{6C8D13FA-9511-C71D-D647-33D04D233424}"/>
          </ac:cxnSpMkLst>
        </pc:cxnChg>
        <pc:cxnChg chg="del">
          <ac:chgData name="Jan K" userId="d066db4a5de46abf" providerId="LiveId" clId="{B1733AD1-BED1-4C71-B004-3296BFE0AA74}" dt="2024-11-21T17:24:55.976" v="476" actId="478"/>
          <ac:cxnSpMkLst>
            <pc:docMk/>
            <pc:sldMk cId="4276762234" sldId="268"/>
            <ac:cxnSpMk id="2106" creationId="{2247A859-C689-612C-63A2-582C27652AC0}"/>
          </ac:cxnSpMkLst>
        </pc:cxnChg>
        <pc:cxnChg chg="del">
          <ac:chgData name="Jan K" userId="d066db4a5de46abf" providerId="LiveId" clId="{B1733AD1-BED1-4C71-B004-3296BFE0AA74}" dt="2024-11-21T17:24:57.266" v="477" actId="478"/>
          <ac:cxnSpMkLst>
            <pc:docMk/>
            <pc:sldMk cId="4276762234" sldId="268"/>
            <ac:cxnSpMk id="2109" creationId="{5857C048-394B-E78D-408B-71F5F07373C1}"/>
          </ac:cxnSpMkLst>
        </pc:cxnChg>
        <pc:cxnChg chg="mod">
          <ac:chgData name="Jan K" userId="d066db4a5de46abf" providerId="LiveId" clId="{B1733AD1-BED1-4C71-B004-3296BFE0AA74}" dt="2024-11-21T17:41:50.927" v="662" actId="14100"/>
          <ac:cxnSpMkLst>
            <pc:docMk/>
            <pc:sldMk cId="4276762234" sldId="268"/>
            <ac:cxnSpMk id="2124" creationId="{0A4B524A-6305-B9D4-BDBE-B828E13AC6D2}"/>
          </ac:cxnSpMkLst>
        </pc:cxnChg>
        <pc:cxnChg chg="del">
          <ac:chgData name="Jan K" userId="d066db4a5de46abf" providerId="LiveId" clId="{B1733AD1-BED1-4C71-B004-3296BFE0AA74}" dt="2024-11-21T17:27:36.126" v="520" actId="478"/>
          <ac:cxnSpMkLst>
            <pc:docMk/>
            <pc:sldMk cId="4276762234" sldId="268"/>
            <ac:cxnSpMk id="2130" creationId="{9330894B-A3C4-02EF-8CF6-9134BB72FDFB}"/>
          </ac:cxnSpMkLst>
        </pc:cxnChg>
        <pc:cxnChg chg="mod">
          <ac:chgData name="Jan K" userId="d066db4a5de46abf" providerId="LiveId" clId="{B1733AD1-BED1-4C71-B004-3296BFE0AA74}" dt="2024-11-21T17:32:19.239" v="573" actId="1076"/>
          <ac:cxnSpMkLst>
            <pc:docMk/>
            <pc:sldMk cId="4276762234" sldId="268"/>
            <ac:cxnSpMk id="2132" creationId="{72793BA1-46C4-21C9-3B4E-388012FCF7C3}"/>
          </ac:cxnSpMkLst>
        </pc:cxnChg>
        <pc:cxnChg chg="add mod">
          <ac:chgData name="Jan K" userId="d066db4a5de46abf" providerId="LiveId" clId="{B1733AD1-BED1-4C71-B004-3296BFE0AA74}" dt="2024-11-21T17:49:05.972" v="719" actId="1076"/>
          <ac:cxnSpMkLst>
            <pc:docMk/>
            <pc:sldMk cId="4276762234" sldId="268"/>
            <ac:cxnSpMk id="2151" creationId="{C45F0E80-F0C6-1A35-8B01-2586CCD73276}"/>
          </ac:cxnSpMkLst>
        </pc:cxnChg>
        <pc:cxnChg chg="add mod">
          <ac:chgData name="Jan K" userId="d066db4a5de46abf" providerId="LiveId" clId="{B1733AD1-BED1-4C71-B004-3296BFE0AA74}" dt="2024-11-21T17:33:15.893" v="593" actId="208"/>
          <ac:cxnSpMkLst>
            <pc:docMk/>
            <pc:sldMk cId="4276762234" sldId="268"/>
            <ac:cxnSpMk id="2160" creationId="{998313B1-1202-B6A1-384C-A18A07AE4027}"/>
          </ac:cxnSpMkLst>
        </pc:cxnChg>
        <pc:cxnChg chg="add del mod">
          <ac:chgData name="Jan K" userId="d066db4a5de46abf" providerId="LiveId" clId="{B1733AD1-BED1-4C71-B004-3296BFE0AA74}" dt="2024-11-21T17:39:25.559" v="640" actId="478"/>
          <ac:cxnSpMkLst>
            <pc:docMk/>
            <pc:sldMk cId="4276762234" sldId="268"/>
            <ac:cxnSpMk id="2182" creationId="{DB89A6E3-14A1-6A00-A3E1-DDC1F42CC579}"/>
          </ac:cxnSpMkLst>
        </pc:cxnChg>
        <pc:cxnChg chg="add mod">
          <ac:chgData name="Jan K" userId="d066db4a5de46abf" providerId="LiveId" clId="{B1733AD1-BED1-4C71-B004-3296BFE0AA74}" dt="2024-11-21T17:50:14.617" v="721" actId="208"/>
          <ac:cxnSpMkLst>
            <pc:docMk/>
            <pc:sldMk cId="4276762234" sldId="268"/>
            <ac:cxnSpMk id="2185" creationId="{09433898-830B-4518-BC07-370E7EA47545}"/>
          </ac:cxnSpMkLst>
        </pc:cxnChg>
        <pc:cxnChg chg="add mod">
          <ac:chgData name="Jan K" userId="d066db4a5de46abf" providerId="LiveId" clId="{B1733AD1-BED1-4C71-B004-3296BFE0AA74}" dt="2024-11-21T17:50:18.459" v="722" actId="208"/>
          <ac:cxnSpMkLst>
            <pc:docMk/>
            <pc:sldMk cId="4276762234" sldId="268"/>
            <ac:cxnSpMk id="2188" creationId="{B3053AD8-D013-1F4C-D428-4AD0369B3E5C}"/>
          </ac:cxnSpMkLst>
        </pc:cxnChg>
        <pc:cxnChg chg="add mod">
          <ac:chgData name="Jan K" userId="d066db4a5de46abf" providerId="LiveId" clId="{B1733AD1-BED1-4C71-B004-3296BFE0AA74}" dt="2024-11-21T17:40:24.996" v="657" actId="1582"/>
          <ac:cxnSpMkLst>
            <pc:docMk/>
            <pc:sldMk cId="4276762234" sldId="268"/>
            <ac:cxnSpMk id="2191" creationId="{C5824DF0-BC2F-EDD8-7351-7C633831AECD}"/>
          </ac:cxnSpMkLst>
        </pc:cxnChg>
        <pc:cxnChg chg="add mod">
          <ac:chgData name="Jan K" userId="d066db4a5de46abf" providerId="LiveId" clId="{B1733AD1-BED1-4C71-B004-3296BFE0AA74}" dt="2024-11-21T17:49:08.261" v="720" actId="14100"/>
          <ac:cxnSpMkLst>
            <pc:docMk/>
            <pc:sldMk cId="4276762234" sldId="268"/>
            <ac:cxnSpMk id="2217" creationId="{EA64C112-6590-5D5D-F310-656E46CE67D2}"/>
          </ac:cxnSpMkLst>
        </pc:cxnChg>
        <pc:cxnChg chg="add mod">
          <ac:chgData name="Jan K" userId="d066db4a5de46abf" providerId="LiveId" clId="{B1733AD1-BED1-4C71-B004-3296BFE0AA74}" dt="2024-11-21T17:52:41.824" v="746" actId="14100"/>
          <ac:cxnSpMkLst>
            <pc:docMk/>
            <pc:sldMk cId="4276762234" sldId="268"/>
            <ac:cxnSpMk id="2230" creationId="{183C2758-7FAA-24AE-1569-94759E3412BF}"/>
          </ac:cxnSpMkLst>
        </pc:cxnChg>
      </pc:sldChg>
      <pc:sldChg chg="modSp add mod">
        <pc:chgData name="Jan K" userId="d066db4a5de46abf" providerId="LiveId" clId="{B1733AD1-BED1-4C71-B004-3296BFE0AA74}" dt="2024-11-24T22:19:48.047" v="774" actId="14100"/>
        <pc:sldMkLst>
          <pc:docMk/>
          <pc:sldMk cId="4291522675" sldId="269"/>
        </pc:sldMkLst>
        <pc:grpChg chg="mod">
          <ac:chgData name="Jan K" userId="d066db4a5de46abf" providerId="LiveId" clId="{B1733AD1-BED1-4C71-B004-3296BFE0AA74}" dt="2024-11-24T22:19:18.759" v="765" actId="1076"/>
          <ac:grpSpMkLst>
            <pc:docMk/>
            <pc:sldMk cId="4291522675" sldId="269"/>
            <ac:grpSpMk id="2170" creationId="{FB02B432-9295-4190-B7F8-005A38CC7EC3}"/>
          </ac:grpSpMkLst>
        </pc:grpChg>
        <pc:grpChg chg="mod">
          <ac:chgData name="Jan K" userId="d066db4a5de46abf" providerId="LiveId" clId="{B1733AD1-BED1-4C71-B004-3296BFE0AA74}" dt="2024-11-24T22:19:14.867" v="764" actId="1076"/>
          <ac:grpSpMkLst>
            <pc:docMk/>
            <pc:sldMk cId="4291522675" sldId="269"/>
            <ac:grpSpMk id="2178" creationId="{C0EF2109-7F1D-D3D6-71C4-876AFB295E3E}"/>
          </ac:grpSpMkLst>
        </pc:grpChg>
        <pc:cxnChg chg="mod">
          <ac:chgData name="Jan K" userId="d066db4a5de46abf" providerId="LiveId" clId="{B1733AD1-BED1-4C71-B004-3296BFE0AA74}" dt="2024-11-24T22:19:24.045" v="767" actId="14100"/>
          <ac:cxnSpMkLst>
            <pc:docMk/>
            <pc:sldMk cId="4291522675" sldId="269"/>
            <ac:cxnSpMk id="2094" creationId="{00F69F31-0946-EB92-DD29-56E52789E270}"/>
          </ac:cxnSpMkLst>
        </pc:cxnChg>
        <pc:cxnChg chg="mod">
          <ac:chgData name="Jan K" userId="d066db4a5de46abf" providerId="LiveId" clId="{B1733AD1-BED1-4C71-B004-3296BFE0AA74}" dt="2024-11-24T22:19:48.047" v="774" actId="14100"/>
          <ac:cxnSpMkLst>
            <pc:docMk/>
            <pc:sldMk cId="4291522675" sldId="269"/>
            <ac:cxnSpMk id="2185" creationId="{491E88D4-A35B-2ACE-0403-83B10FC7BC83}"/>
          </ac:cxnSpMkLst>
        </pc:cxnChg>
        <pc:cxnChg chg="mod">
          <ac:chgData name="Jan K" userId="d066db4a5de46abf" providerId="LiveId" clId="{B1733AD1-BED1-4C71-B004-3296BFE0AA74}" dt="2024-11-24T22:19:45.547" v="773" actId="14100"/>
          <ac:cxnSpMkLst>
            <pc:docMk/>
            <pc:sldMk cId="4291522675" sldId="269"/>
            <ac:cxnSpMk id="2188" creationId="{C89B551D-FE44-8A69-979E-3B1C807A53F3}"/>
          </ac:cxnSpMkLst>
        </pc:cxnChg>
      </pc:sldChg>
      <pc:sldChg chg="modSp add mod">
        <pc:chgData name="Jan K" userId="d066db4a5de46abf" providerId="LiveId" clId="{B1733AD1-BED1-4C71-B004-3296BFE0AA74}" dt="2024-12-04T22:52:27.700" v="787" actId="20577"/>
        <pc:sldMkLst>
          <pc:docMk/>
          <pc:sldMk cId="933041140" sldId="270"/>
        </pc:sldMkLst>
        <pc:spChg chg="mod">
          <ac:chgData name="Jan K" userId="d066db4a5de46abf" providerId="LiveId" clId="{B1733AD1-BED1-4C71-B004-3296BFE0AA74}" dt="2024-12-04T22:52:27.700" v="787" actId="20577"/>
          <ac:spMkLst>
            <pc:docMk/>
            <pc:sldMk cId="933041140" sldId="270"/>
            <ac:spMk id="2236" creationId="{FA029E11-D720-12BF-EC62-CED840E7BB21}"/>
          </ac:spMkLst>
        </pc:spChg>
        <pc:grpChg chg="mod">
          <ac:chgData name="Jan K" userId="d066db4a5de46abf" providerId="LiveId" clId="{B1733AD1-BED1-4C71-B004-3296BFE0AA74}" dt="2024-12-04T22:51:46.660" v="777" actId="1076"/>
          <ac:grpSpMkLst>
            <pc:docMk/>
            <pc:sldMk cId="933041140" sldId="270"/>
            <ac:grpSpMk id="32" creationId="{67AEA8F6-A241-1F1B-150F-BA1F6FA9ED7E}"/>
          </ac:grpSpMkLst>
        </pc:grpChg>
        <pc:grpChg chg="mod">
          <ac:chgData name="Jan K" userId="d066db4a5de46abf" providerId="LiveId" clId="{B1733AD1-BED1-4C71-B004-3296BFE0AA74}" dt="2024-12-04T22:52:19.894" v="781" actId="1076"/>
          <ac:grpSpMkLst>
            <pc:docMk/>
            <pc:sldMk cId="933041140" sldId="270"/>
            <ac:grpSpMk id="2234" creationId="{E10D653C-41AE-7615-7A5C-6FF906E5FDBC}"/>
          </ac:grpSpMkLst>
        </pc:grpChg>
        <pc:cxnChg chg="mod">
          <ac:chgData name="Jan K" userId="d066db4a5de46abf" providerId="LiveId" clId="{B1733AD1-BED1-4C71-B004-3296BFE0AA74}" dt="2024-12-04T22:52:08.969" v="780" actId="1076"/>
          <ac:cxnSpMkLst>
            <pc:docMk/>
            <pc:sldMk cId="933041140" sldId="270"/>
            <ac:cxnSpMk id="33" creationId="{EC4D88A3-6C41-3710-50B3-0F6124396DBB}"/>
          </ac:cxnSpMkLst>
        </pc:cxnChg>
        <pc:cxnChg chg="mod">
          <ac:chgData name="Jan K" userId="d066db4a5de46abf" providerId="LiveId" clId="{B1733AD1-BED1-4C71-B004-3296BFE0AA74}" dt="2024-12-04T22:51:46.660" v="777" actId="1076"/>
          <ac:cxnSpMkLst>
            <pc:docMk/>
            <pc:sldMk cId="933041140" sldId="270"/>
            <ac:cxnSpMk id="2185" creationId="{336B0FB7-7979-5CE5-FDC1-8EC925F6B34B}"/>
          </ac:cxnSpMkLst>
        </pc:cxnChg>
        <pc:cxnChg chg="mod">
          <ac:chgData name="Jan K" userId="d066db4a5de46abf" providerId="LiveId" clId="{B1733AD1-BED1-4C71-B004-3296BFE0AA74}" dt="2024-12-04T22:51:57.929" v="779" actId="14100"/>
          <ac:cxnSpMkLst>
            <pc:docMk/>
            <pc:sldMk cId="933041140" sldId="270"/>
            <ac:cxnSpMk id="2188" creationId="{808C43A7-DC14-D417-B8E0-7CBFF6FA309D}"/>
          </ac:cxnSpMkLst>
        </pc:cxnChg>
        <pc:cxnChg chg="mod">
          <ac:chgData name="Jan K" userId="d066db4a5de46abf" providerId="LiveId" clId="{B1733AD1-BED1-4C71-B004-3296BFE0AA74}" dt="2024-12-04T22:52:19.894" v="781" actId="1076"/>
          <ac:cxnSpMkLst>
            <pc:docMk/>
            <pc:sldMk cId="933041140" sldId="270"/>
            <ac:cxnSpMk id="2230" creationId="{A76AC531-8D28-937D-A9A6-0766ED2CCD5E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60FB70-4477-4AB3-9888-A31104B7E1BE}" type="datetimeFigureOut">
              <a:rPr lang="en-US" smtClean="0"/>
              <a:t>6/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7975E4-9BC1-420F-A23A-FC44F25249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6447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99CA8B-02C7-2B8D-DE4D-41933E210D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83625A1-D3C6-7200-7FFD-7F9013538B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14939C7-DAFF-82A2-091F-F873DFE4D1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87E206-2D4A-815B-33C1-F7E7DEB13B7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7975E4-9BC1-420F-A23A-FC44F25249D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6673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0" name="Picture 98" descr="C:\screenmakers\Kunden\kleinerundbold\Henkes_HSB_Master\PPT_Klassisch\Bilder\PPT-16_9\160222 PPT-Pra╠êsentation wide Titel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725" y="0"/>
            <a:ext cx="12205725" cy="6865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521775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4434" y="3679965"/>
            <a:ext cx="11523133" cy="9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33162" y="4821155"/>
            <a:ext cx="11524404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flipH="1">
            <a:off x="12336694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71649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1955937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34433" y="596765"/>
            <a:ext cx="11520000" cy="72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06/08/2025</a:t>
            </a:fld>
            <a:endParaRPr lang="en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6683471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4371905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06/08/2025</a:t>
            </a:fld>
            <a:endParaRPr lang="en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cxnSp>
        <p:nvCxnSpPr>
          <p:cNvPr id="12" name="Gerade Verbindung 11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91266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62E8354-C884-4D66-9347-90E31E116CE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41294" indent="-241294" algn="ctr">
              <a:spcBef>
                <a:spcPts val="267"/>
              </a:spcBef>
              <a:buFont typeface="Calibri" panose="020F0502020204030204" pitchFamily="34" charset="0"/>
              <a:buChar char="▪"/>
            </a:pPr>
            <a:endParaRPr lang="en-DE" sz="1867" dirty="0" err="1"/>
          </a:p>
        </p:txBody>
      </p:sp>
    </p:spTree>
    <p:extLst>
      <p:ext uri="{BB962C8B-B14F-4D97-AF65-F5344CB8AC3E}">
        <p14:creationId xmlns:p14="http://schemas.microsoft.com/office/powerpoint/2010/main" val="34908378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5" name="Picture 99" descr="C:\screenmakers\Kunden\kleinerundbold\Henkes_HSB_Master\PPT_Klassisch\Bilder\PPT-16_9\160222 PPT-Pra╠êsentation wide Titel hinter Bild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77"/>
            <a:ext cx="12194395" cy="6858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479312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0" y="1460500"/>
            <a:ext cx="12192000" cy="539750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35359" y="4557214"/>
            <a:ext cx="11521279" cy="97961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34434" y="5718016"/>
            <a:ext cx="11523132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21833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18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7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430083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Gerade Verbindung 4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/>
        </p:nvSpPr>
        <p:spPr bwMode="gray">
          <a:xfrm>
            <a:off x="329682" y="656694"/>
            <a:ext cx="1393164" cy="4308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3200" dirty="0">
                <a:solidFill>
                  <a:schemeClr val="bg1"/>
                </a:solidFill>
              </a:rPr>
              <a:t>Inhalt</a:t>
            </a:r>
          </a:p>
        </p:txBody>
      </p:sp>
      <p:sp>
        <p:nvSpPr>
          <p:cNvPr id="24" name="Inhaltsplatzhalter 23"/>
          <p:cNvSpPr>
            <a:spLocks noGrp="1"/>
          </p:cNvSpPr>
          <p:nvPr>
            <p:ph sz="quarter" idx="10"/>
          </p:nvPr>
        </p:nvSpPr>
        <p:spPr>
          <a:xfrm>
            <a:off x="329681" y="1400008"/>
            <a:ext cx="11526959" cy="4800600"/>
          </a:xfrm>
          <a:prstGeom prst="rect">
            <a:avLst/>
          </a:prstGeom>
        </p:spPr>
        <p:txBody>
          <a:bodyPr>
            <a:noAutofit/>
          </a:bodyPr>
          <a:lstStyle>
            <a:lvl1pPr marL="479988" indent="-479988">
              <a:buFont typeface="Wingdings" charset="2"/>
              <a:buAutoNum type="arabicPlain"/>
              <a:defRPr>
                <a:solidFill>
                  <a:srgbClr val="FFFFFF"/>
                </a:solidFill>
              </a:defRPr>
            </a:lvl1pPr>
            <a:lvl2pPr marL="480472" indent="239178"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9" name="Gerade Verbindung 18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20618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7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168796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35362" y="2048845"/>
            <a:ext cx="11521277" cy="8160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32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8403" y="2949021"/>
            <a:ext cx="11521277" cy="67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133" b="0">
                <a:solidFill>
                  <a:schemeClr val="bg1"/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63930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493449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06/08/2025</a:t>
            </a:fld>
            <a:endParaRPr lang="en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36000" y="93182"/>
            <a:ext cx="11520000" cy="4832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336000" y="1396800"/>
            <a:ext cx="11520000" cy="4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99617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351794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06/08/2025</a:t>
            </a:fld>
            <a:endParaRPr lang="en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336000" y="1396801"/>
            <a:ext cx="5616067" cy="47894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9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6240573" y="1396801"/>
            <a:ext cx="5616067" cy="47894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Titel 6">
            <a:extLst>
              <a:ext uri="{FF2B5EF4-FFF2-40B4-BE49-F238E27FC236}">
                <a16:creationId xmlns:a16="http://schemas.microsoft.com/office/drawing/2014/main" id="{E0C2E0DC-CE21-449B-B90C-F53EBB197F7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36000" y="93182"/>
            <a:ext cx="11520000" cy="4832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12890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5693278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34433" y="596765"/>
            <a:ext cx="11520000" cy="72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06/08/2025</a:t>
            </a:fld>
            <a:endParaRPr lang="en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 bwMode="gray">
          <a:xfrm>
            <a:off x="6239934" y="1449388"/>
            <a:ext cx="5617633" cy="47630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336000" y="1396801"/>
            <a:ext cx="5616067" cy="47894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98715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466194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827" y="625475"/>
            <a:ext cx="12191173" cy="625990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67363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7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682882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1" y="2996953"/>
            <a:ext cx="11521280" cy="21242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867" b="0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sz="1867" b="0">
                <a:solidFill>
                  <a:schemeClr val="bg1"/>
                </a:solidFill>
              </a:defRPr>
            </a:lvl3pPr>
            <a:lvl4pPr marL="0" indent="0" algn="ctr">
              <a:spcAft>
                <a:spcPts val="0"/>
              </a:spcAft>
              <a:buNone/>
              <a:defRPr sz="1867" b="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67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itat bearbeiten</a:t>
            </a:r>
          </a:p>
          <a:p>
            <a:pPr lvl="1"/>
            <a:r>
              <a:rPr lang="de-DE" dirty="0"/>
              <a:t>Zitat 14pt</a:t>
            </a:r>
          </a:p>
        </p:txBody>
      </p:sp>
      <p:cxnSp>
        <p:nvCxnSpPr>
          <p:cNvPr id="7" name="Gerade Verbindung 6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401" y="-43200"/>
            <a:ext cx="1612633" cy="836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3538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05338046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Gerade Verbindung 10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2361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</p:sldLayoutIdLst>
  <p:txStyles>
    <p:titleStyle>
      <a:lvl1pPr algn="l" defTabSz="1219170" rtl="0" eaLnBrk="1" latinLnBrk="0" hangingPunct="1">
        <a:spcBef>
          <a:spcPct val="0"/>
        </a:spcBef>
        <a:buNone/>
        <a:defRPr sz="24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267"/>
        </a:spcBef>
        <a:spcAft>
          <a:spcPts val="0"/>
        </a:spcAft>
        <a:buFont typeface="Arial" panose="020B0604020202020204" pitchFamily="34" charset="0"/>
        <a:buNone/>
        <a:defRPr sz="1867" b="0" kern="1200">
          <a:solidFill>
            <a:schemeClr val="bg2"/>
          </a:solidFill>
          <a:latin typeface="+mj-lt"/>
          <a:ea typeface="+mn-ea"/>
          <a:cs typeface="+mn-cs"/>
        </a:defRPr>
      </a:lvl1pPr>
      <a:lvl2pPr marL="241294" indent="-241294" algn="l" defTabSz="1219170" rtl="0" eaLnBrk="1" latinLnBrk="0" hangingPunct="1">
        <a:spcBef>
          <a:spcPts val="267"/>
        </a:spcBef>
        <a:spcAft>
          <a:spcPts val="0"/>
        </a:spcAft>
        <a:buFont typeface="Wingdings" charset="2"/>
        <a:buChar char="§"/>
        <a:defRPr sz="1867" kern="1200">
          <a:solidFill>
            <a:schemeClr val="bg2"/>
          </a:solidFill>
          <a:latin typeface="+mj-lt"/>
          <a:ea typeface="+mn-ea"/>
          <a:cs typeface="+mn-cs"/>
        </a:defRPr>
      </a:lvl2pPr>
      <a:lvl3pPr marL="484705" indent="-243411" algn="l" defTabSz="1219170" rtl="0" eaLnBrk="1" latinLnBrk="0" hangingPunct="1">
        <a:spcBef>
          <a:spcPts val="267"/>
        </a:spcBef>
        <a:spcAft>
          <a:spcPts val="0"/>
        </a:spcAft>
        <a:buFont typeface="Symbol" charset="2"/>
        <a:buChar char="-"/>
        <a:defRPr sz="1867" kern="1200">
          <a:solidFill>
            <a:schemeClr val="bg2"/>
          </a:solidFill>
          <a:latin typeface="+mj-lt"/>
          <a:ea typeface="+mn-ea"/>
          <a:cs typeface="+mn-cs"/>
        </a:defRPr>
      </a:lvl3pPr>
      <a:lvl4pPr marL="721766" indent="-239178" algn="l" defTabSz="1219170" rtl="0" eaLnBrk="1" latinLnBrk="0" hangingPunct="1">
        <a:spcBef>
          <a:spcPts val="267"/>
        </a:spcBef>
        <a:spcAft>
          <a:spcPts val="0"/>
        </a:spcAft>
        <a:buFont typeface="Symbol" charset="2"/>
        <a:buChar char="-"/>
        <a:defRPr sz="1867" kern="1200">
          <a:solidFill>
            <a:schemeClr val="bg2"/>
          </a:solidFill>
          <a:latin typeface="+mj-lt"/>
          <a:ea typeface="+mn-ea"/>
          <a:cs typeface="+mn-cs"/>
        </a:defRPr>
      </a:lvl4pPr>
      <a:lvl5pPr marL="952476" indent="-241294" algn="l" defTabSz="1219170" rtl="0" eaLnBrk="1" latinLnBrk="0" hangingPunct="1">
        <a:spcBef>
          <a:spcPts val="267"/>
        </a:spcBef>
        <a:spcAft>
          <a:spcPts val="0"/>
        </a:spcAft>
        <a:buFont typeface="Symbol" charset="2"/>
        <a:buChar char="-"/>
        <a:defRPr sz="1867" kern="1200">
          <a:solidFill>
            <a:schemeClr val="bg2"/>
          </a:solidFill>
          <a:latin typeface="+mj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ESP8266 Pinout Reference: Which GPIO pins should you use? | Random Nerd  Tutorials">
            <a:extLst>
              <a:ext uri="{FF2B5EF4-FFF2-40B4-BE49-F238E27FC236}">
                <a16:creationId xmlns:a16="http://schemas.microsoft.com/office/drawing/2014/main" id="{B962B1B9-0B72-6DDB-E966-7892F4B719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3668" y="1983805"/>
            <a:ext cx="4764664" cy="24123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90CD291-FE9A-02E0-50F9-638B7A984E71}"/>
              </a:ext>
            </a:extLst>
          </p:cNvPr>
          <p:cNvSpPr txBox="1"/>
          <p:nvPr/>
        </p:nvSpPr>
        <p:spPr>
          <a:xfrm>
            <a:off x="574159" y="256579"/>
            <a:ext cx="226473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bg2"/>
                </a:solidFill>
              </a:rPr>
              <a:t>Power Suppl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CB885ED-410E-D560-DF02-DECA51FCFA83}"/>
              </a:ext>
            </a:extLst>
          </p:cNvPr>
          <p:cNvSpPr txBox="1"/>
          <p:nvPr/>
        </p:nvSpPr>
        <p:spPr>
          <a:xfrm>
            <a:off x="9927265" y="4382011"/>
            <a:ext cx="226473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bg2"/>
                </a:solidFill>
              </a:rPr>
              <a:t>Outpu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F148710-FF14-D616-04F8-5106A1786B9C}"/>
              </a:ext>
            </a:extLst>
          </p:cNvPr>
          <p:cNvSpPr txBox="1"/>
          <p:nvPr/>
        </p:nvSpPr>
        <p:spPr>
          <a:xfrm>
            <a:off x="9927265" y="410467"/>
            <a:ext cx="226473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bg2"/>
                </a:solidFill>
              </a:rPr>
              <a:t>Input</a:t>
            </a:r>
          </a:p>
        </p:txBody>
      </p:sp>
      <p:pic>
        <p:nvPicPr>
          <p:cNvPr id="1026" name="Picture 2" descr="Micro-SD Memory Card Adapter for Arduino with 3.3V-5V converter">
            <a:extLst>
              <a:ext uri="{FF2B5EF4-FFF2-40B4-BE49-F238E27FC236}">
                <a16:creationId xmlns:a16="http://schemas.microsoft.com/office/drawing/2014/main" id="{D832A626-8831-1583-772A-5E974B524B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7115" y="850604"/>
            <a:ext cx="2434885" cy="1823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2127A9E-1D94-698F-A618-F61C136445E1}"/>
              </a:ext>
            </a:extLst>
          </p:cNvPr>
          <p:cNvSpPr/>
          <p:nvPr/>
        </p:nvSpPr>
        <p:spPr>
          <a:xfrm>
            <a:off x="2821253" y="3463835"/>
            <a:ext cx="864000" cy="18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SD_C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A9FAF9-A990-8CD0-762D-10C241B52FC5}"/>
              </a:ext>
            </a:extLst>
          </p:cNvPr>
          <p:cNvSpPr/>
          <p:nvPr/>
        </p:nvSpPr>
        <p:spPr>
          <a:xfrm>
            <a:off x="2821253" y="3283835"/>
            <a:ext cx="864000" cy="18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SD_MOSI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C7E4541-CCFB-409B-9FAF-AFDC66534F13}"/>
              </a:ext>
            </a:extLst>
          </p:cNvPr>
          <p:cNvSpPr/>
          <p:nvPr/>
        </p:nvSpPr>
        <p:spPr>
          <a:xfrm>
            <a:off x="2821253" y="3116466"/>
            <a:ext cx="864000" cy="18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SD_MISO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BC1254C-6289-3DDD-E1C9-9A55080EED43}"/>
              </a:ext>
            </a:extLst>
          </p:cNvPr>
          <p:cNvSpPr/>
          <p:nvPr/>
        </p:nvSpPr>
        <p:spPr>
          <a:xfrm>
            <a:off x="2821253" y="2949097"/>
            <a:ext cx="864000" cy="18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SD_SCLK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F82462F-6376-83F3-EC24-7E4733E5E97D}"/>
              </a:ext>
            </a:extLst>
          </p:cNvPr>
          <p:cNvSpPr/>
          <p:nvPr/>
        </p:nvSpPr>
        <p:spPr>
          <a:xfrm>
            <a:off x="8691007" y="3296466"/>
            <a:ext cx="864000" cy="18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LED_DI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66321E8-DB02-DF39-A475-773A76AEF69E}"/>
              </a:ext>
            </a:extLst>
          </p:cNvPr>
          <p:cNvSpPr/>
          <p:nvPr/>
        </p:nvSpPr>
        <p:spPr>
          <a:xfrm>
            <a:off x="8691007" y="2901631"/>
            <a:ext cx="864000" cy="18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OL_SD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2523CF3-D6F5-4E70-05EA-37DF2C0012B8}"/>
              </a:ext>
            </a:extLst>
          </p:cNvPr>
          <p:cNvSpPr/>
          <p:nvPr/>
        </p:nvSpPr>
        <p:spPr>
          <a:xfrm>
            <a:off x="8691007" y="2734262"/>
            <a:ext cx="864000" cy="18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OL_SCL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D2346BD-093F-21E7-EF2A-587E2F2687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58183" y="2033614"/>
            <a:ext cx="1106552" cy="54499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8D5D4D66-9B86-BC98-1204-363CE4F6C0EF}"/>
              </a:ext>
            </a:extLst>
          </p:cNvPr>
          <p:cNvSpPr/>
          <p:nvPr/>
        </p:nvSpPr>
        <p:spPr>
          <a:xfrm>
            <a:off x="1224588" y="2252103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34FDE83-2AE7-8B6C-893B-0EB78C824F83}"/>
              </a:ext>
            </a:extLst>
          </p:cNvPr>
          <p:cNvSpPr/>
          <p:nvPr/>
        </p:nvSpPr>
        <p:spPr>
          <a:xfrm>
            <a:off x="2109413" y="2450785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27AC0F5-DD53-A96B-02B1-845F4A7C20AF}"/>
              </a:ext>
            </a:extLst>
          </p:cNvPr>
          <p:cNvSpPr/>
          <p:nvPr/>
        </p:nvSpPr>
        <p:spPr>
          <a:xfrm>
            <a:off x="2106424" y="2045469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94898A1-8814-DB51-B50A-54F51EC09723}"/>
              </a:ext>
            </a:extLst>
          </p:cNvPr>
          <p:cNvSpPr/>
          <p:nvPr/>
        </p:nvSpPr>
        <p:spPr>
          <a:xfrm>
            <a:off x="1215215" y="2454543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43EAEC-A1E4-C569-B7A0-F3B7BA704529}"/>
              </a:ext>
            </a:extLst>
          </p:cNvPr>
          <p:cNvSpPr txBox="1"/>
          <p:nvPr/>
        </p:nvSpPr>
        <p:spPr>
          <a:xfrm>
            <a:off x="1117666" y="2625707"/>
            <a:ext cx="1223715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 err="1"/>
              <a:t>Voltage</a:t>
            </a:r>
            <a:r>
              <a:rPr lang="de-DE" sz="1200" b="1" dirty="0"/>
              <a:t> Boost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</a:t>
            </a:r>
            <a:r>
              <a:rPr lang="de-DE" sz="1000" dirty="0" err="1"/>
              <a:t>Step</a:t>
            </a:r>
            <a:r>
              <a:rPr lang="de-DE" sz="1000" dirty="0"/>
              <a:t>-Up 5V Out ]</a:t>
            </a:r>
            <a:endParaRPr lang="en-DE" sz="1000" dirty="0" err="1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24FB6CC-B69E-3635-11E4-87D6C84F9F03}"/>
              </a:ext>
            </a:extLst>
          </p:cNvPr>
          <p:cNvSpPr/>
          <p:nvPr/>
        </p:nvSpPr>
        <p:spPr>
          <a:xfrm>
            <a:off x="929621" y="2477740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D81B2084-3E96-A8D1-56BE-F1277189C207}"/>
              </a:ext>
            </a:extLst>
          </p:cNvPr>
          <p:cNvSpPr/>
          <p:nvPr/>
        </p:nvSpPr>
        <p:spPr>
          <a:xfrm>
            <a:off x="742417" y="2478408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24D4142-B309-5E30-EBAC-2B6F78BECCD8}"/>
              </a:ext>
            </a:extLst>
          </p:cNvPr>
          <p:cNvCxnSpPr>
            <a:cxnSpLocks/>
          </p:cNvCxnSpPr>
          <p:nvPr/>
        </p:nvCxnSpPr>
        <p:spPr>
          <a:xfrm flipV="1">
            <a:off x="2506232" y="1919997"/>
            <a:ext cx="4153" cy="760704"/>
          </a:xfrm>
          <a:prstGeom prst="line">
            <a:avLst/>
          </a:prstGeom>
          <a:ln w="28575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2" descr="Rotary Encoder Push Switch,Rotary Encoder With Push Switch">
            <a:extLst>
              <a:ext uri="{FF2B5EF4-FFF2-40B4-BE49-F238E27FC236}">
                <a16:creationId xmlns:a16="http://schemas.microsoft.com/office/drawing/2014/main" id="{E21890FD-62E6-70FF-23B7-951446FFA2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0405729" y="2806559"/>
            <a:ext cx="1656946" cy="1656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64C9384-67E0-A6B2-6F5C-7538FD095712}"/>
              </a:ext>
            </a:extLst>
          </p:cNvPr>
          <p:cNvSpPr/>
          <p:nvPr/>
        </p:nvSpPr>
        <p:spPr>
          <a:xfrm>
            <a:off x="8691007" y="3101609"/>
            <a:ext cx="864000" cy="18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ENC_CLK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D49D459-6668-572A-C0BA-E95EB2465F0C}"/>
              </a:ext>
            </a:extLst>
          </p:cNvPr>
          <p:cNvSpPr/>
          <p:nvPr/>
        </p:nvSpPr>
        <p:spPr>
          <a:xfrm>
            <a:off x="2821285" y="2759552"/>
            <a:ext cx="864000" cy="18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ENC_D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ED695EB-A23C-BECB-CC19-944C21562286}"/>
              </a:ext>
            </a:extLst>
          </p:cNvPr>
          <p:cNvSpPr/>
          <p:nvPr/>
        </p:nvSpPr>
        <p:spPr>
          <a:xfrm>
            <a:off x="2822777" y="2570007"/>
            <a:ext cx="864000" cy="18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ENC_SW</a:t>
            </a:r>
          </a:p>
        </p:txBody>
      </p:sp>
    </p:spTree>
    <p:extLst>
      <p:ext uri="{BB962C8B-B14F-4D97-AF65-F5344CB8AC3E}">
        <p14:creationId xmlns:p14="http://schemas.microsoft.com/office/powerpoint/2010/main" val="42825626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16BD53-52D3-BA46-9EE7-CD3FD8E13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C2F6F5-2925-C320-5DB3-02889A6E97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3318" name="Picture 6" descr="HiLetgo ESP-WROOM-32">
            <a:extLst>
              <a:ext uri="{FF2B5EF4-FFF2-40B4-BE49-F238E27FC236}">
                <a16:creationId xmlns:a16="http://schemas.microsoft.com/office/drawing/2014/main" id="{C3BA8751-B17C-97A4-F09F-D2BC26B313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6375" y="571500"/>
            <a:ext cx="9239250" cy="571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18429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02BA4C-03E7-6196-8582-BE8473BD16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F9BBC0E1-C23E-2CFE-3E06-B52B9AEE7B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28" r="15842"/>
          <a:stretch/>
        </p:blipFill>
        <p:spPr bwMode="auto">
          <a:xfrm rot="16200000">
            <a:off x="3862681" y="-109245"/>
            <a:ext cx="4466638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F78DFA23-6417-D6A4-75B3-C23F6F0F829C}"/>
              </a:ext>
            </a:extLst>
          </p:cNvPr>
          <p:cNvSpPr/>
          <p:nvPr/>
        </p:nvSpPr>
        <p:spPr>
          <a:xfrm>
            <a:off x="4938694" y="2207016"/>
            <a:ext cx="417153" cy="207702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pic>
        <p:nvPicPr>
          <p:cNvPr id="4" name="Picture 6" descr="HiLetgo ESP-WROOM-32">
            <a:extLst>
              <a:ext uri="{FF2B5EF4-FFF2-40B4-BE49-F238E27FC236}">
                <a16:creationId xmlns:a16="http://schemas.microsoft.com/office/drawing/2014/main" id="{367F2C92-0C74-A273-3B26-217919D23E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55" t="8629" r="38691" b="9246"/>
          <a:stretch/>
        </p:blipFill>
        <p:spPr bwMode="auto">
          <a:xfrm rot="16200000">
            <a:off x="6164302" y="1337459"/>
            <a:ext cx="2128903" cy="3859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Interfacing DRV8833 Dual Motor Driver Module with Arduino">
            <a:extLst>
              <a:ext uri="{FF2B5EF4-FFF2-40B4-BE49-F238E27FC236}">
                <a16:creationId xmlns:a16="http://schemas.microsoft.com/office/drawing/2014/main" id="{3E839831-F601-9309-33FC-68ECA7A23E5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04" t="26051" r="35201" b="27516"/>
          <a:stretch/>
        </p:blipFill>
        <p:spPr bwMode="auto">
          <a:xfrm>
            <a:off x="9878316" y="2853774"/>
            <a:ext cx="1341803" cy="1150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A3ECFE1-2F7B-0F21-46C2-7C47D1989D74}"/>
              </a:ext>
            </a:extLst>
          </p:cNvPr>
          <p:cNvCxnSpPr/>
          <p:nvPr/>
        </p:nvCxnSpPr>
        <p:spPr>
          <a:xfrm>
            <a:off x="8839200" y="1521824"/>
            <a:ext cx="0" cy="3533775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F459CB4-B1FF-701E-3039-CA42CC8AE308}"/>
              </a:ext>
            </a:extLst>
          </p:cNvPr>
          <p:cNvCxnSpPr>
            <a:cxnSpLocks/>
          </p:cNvCxnSpPr>
          <p:nvPr/>
        </p:nvCxnSpPr>
        <p:spPr>
          <a:xfrm>
            <a:off x="7936535" y="4432254"/>
            <a:ext cx="120078" cy="604643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A22826F-DF72-78C0-06C2-B4913B060A2E}"/>
              </a:ext>
            </a:extLst>
          </p:cNvPr>
          <p:cNvGrpSpPr/>
          <p:nvPr/>
        </p:nvGrpSpPr>
        <p:grpSpPr>
          <a:xfrm>
            <a:off x="1312132" y="1467071"/>
            <a:ext cx="763723" cy="180754"/>
            <a:chOff x="3563025" y="2201148"/>
            <a:chExt cx="763723" cy="180754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33F4940-5C01-20A9-AA7B-8B801DBCE749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4AF3211-8B60-3B28-CDE2-853C2A3798AB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5930D51-C6AB-86C0-F184-77F00BF1CE4A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EA0BD19-B394-E8C5-6343-6385FC81229F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4599D739-12E2-350C-7431-9C53C88C15AB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E37A680E-0D3B-9D10-CABB-E5A927085B93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406B673E-AF85-41A1-8422-44792BAE9372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87B5B0D1-4C3E-FB8D-E389-7DD65CDFA004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2C03809D-E70D-6C63-0919-9AC77F3853D6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EC48450B-B36D-77E7-3CCA-09BEE6A7203D}"/>
              </a:ext>
            </a:extLst>
          </p:cNvPr>
          <p:cNvGrpSpPr/>
          <p:nvPr/>
        </p:nvGrpSpPr>
        <p:grpSpPr>
          <a:xfrm>
            <a:off x="-607279" y="2879266"/>
            <a:ext cx="819244" cy="3067050"/>
            <a:chOff x="3345531" y="2155825"/>
            <a:chExt cx="819244" cy="306705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123590E-3BE2-4044-5651-473205BFDF14}"/>
                </a:ext>
              </a:extLst>
            </p:cNvPr>
            <p:cNvSpPr/>
            <p:nvPr/>
          </p:nvSpPr>
          <p:spPr>
            <a:xfrm>
              <a:off x="3345531" y="2155825"/>
              <a:ext cx="819244" cy="3067050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6AC93BF2-6FC6-A8E7-D523-F95DE4588110}"/>
                </a:ext>
              </a:extLst>
            </p:cNvPr>
            <p:cNvGrpSpPr/>
            <p:nvPr/>
          </p:nvGrpSpPr>
          <p:grpSpPr>
            <a:xfrm>
              <a:off x="3345531" y="2202616"/>
              <a:ext cx="763723" cy="180754"/>
              <a:chOff x="3563025" y="2201148"/>
              <a:chExt cx="763723" cy="180754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44C440B-472D-5FB9-FE33-6778D040A0A1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5F2F3E40-59AD-4355-7872-92FB69CC32CD}"/>
                  </a:ext>
                </a:extLst>
              </p:cNvPr>
              <p:cNvSpPr/>
              <p:nvPr/>
            </p:nvSpPr>
            <p:spPr>
              <a:xfrm>
                <a:off x="3951536" y="2201902"/>
                <a:ext cx="180000" cy="18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B5C85B25-2FE0-E526-D62B-701DFEFFEBFC}"/>
                  </a:ext>
                </a:extLst>
              </p:cNvPr>
              <p:cNvSpPr/>
              <p:nvPr/>
            </p:nvSpPr>
            <p:spPr>
              <a:xfrm>
                <a:off x="3754720" y="2201148"/>
                <a:ext cx="180000" cy="1800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FFCD9AC3-0313-4D66-DC03-76BFA2F54EAF}"/>
                  </a:ext>
                </a:extLst>
              </p:cNvPr>
              <p:cNvSpPr/>
              <p:nvPr/>
            </p:nvSpPr>
            <p:spPr>
              <a:xfrm>
                <a:off x="3563025" y="2201148"/>
                <a:ext cx="180000" cy="180000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0DAADB0E-7A58-DBA2-322F-5417302A2A11}"/>
                  </a:ext>
                </a:extLst>
              </p:cNvPr>
              <p:cNvGrpSpPr/>
              <p:nvPr/>
            </p:nvGrpSpPr>
            <p:grpSpPr>
              <a:xfrm>
                <a:off x="3612386" y="2255902"/>
                <a:ext cx="657449" cy="72000"/>
                <a:chOff x="3612386" y="2255902"/>
                <a:chExt cx="657449" cy="72000"/>
              </a:xfrm>
            </p:grpSpPr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0A4BFB46-6E3E-1102-2980-726D67AE149C}"/>
                    </a:ext>
                  </a:extLst>
                </p:cNvPr>
                <p:cNvSpPr/>
                <p:nvPr/>
              </p:nvSpPr>
              <p:spPr>
                <a:xfrm>
                  <a:off x="4197835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C81AF7FC-1C3C-573E-A4B3-2D196FD06C77}"/>
                    </a:ext>
                  </a:extLst>
                </p:cNvPr>
                <p:cNvSpPr/>
                <p:nvPr/>
              </p:nvSpPr>
              <p:spPr>
                <a:xfrm>
                  <a:off x="40026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224BD15E-5111-C2CB-541E-B0542B7D46E7}"/>
                    </a:ext>
                  </a:extLst>
                </p:cNvPr>
                <p:cNvSpPr/>
                <p:nvPr/>
              </p:nvSpPr>
              <p:spPr>
                <a:xfrm>
                  <a:off x="380753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ACF72D67-604A-209A-695E-AF6C8E69DEA1}"/>
                    </a:ext>
                  </a:extLst>
                </p:cNvPr>
                <p:cNvSpPr/>
                <p:nvPr/>
              </p:nvSpPr>
              <p:spPr>
                <a:xfrm>
                  <a:off x="36123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</p:grpSp>
        </p:grp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AC31FE4-E434-7FE0-0DFB-13DE39D1D8EB}"/>
                </a:ext>
              </a:extLst>
            </p:cNvPr>
            <p:cNvSpPr txBox="1"/>
            <p:nvPr/>
          </p:nvSpPr>
          <p:spPr>
            <a:xfrm rot="16200000">
              <a:off x="3595103" y="2129636"/>
              <a:ext cx="307976" cy="7540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GND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VCC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CK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DA</a:t>
              </a: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F170A149-8809-DEDC-9123-266EFD53D6F8}"/>
              </a:ext>
            </a:extLst>
          </p:cNvPr>
          <p:cNvSpPr txBox="1"/>
          <p:nvPr/>
        </p:nvSpPr>
        <p:spPr>
          <a:xfrm rot="16200000">
            <a:off x="5922504" y="2492126"/>
            <a:ext cx="361285" cy="754053"/>
          </a:xfrm>
          <a:prstGeom prst="rect">
            <a:avLst/>
          </a:prstGeom>
          <a:solidFill>
            <a:srgbClr val="000000">
              <a:alpha val="23137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L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DCF57AD2-5AAB-9A61-3E90-C40D502295DC}"/>
              </a:ext>
            </a:extLst>
          </p:cNvPr>
          <p:cNvGrpSpPr/>
          <p:nvPr/>
        </p:nvGrpSpPr>
        <p:grpSpPr>
          <a:xfrm>
            <a:off x="112950" y="6677246"/>
            <a:ext cx="763723" cy="180754"/>
            <a:chOff x="3563025" y="2201148"/>
            <a:chExt cx="763723" cy="180754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874E3655-1B54-9891-5ABA-151D6AD1D662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52F68FF2-7337-BF55-85DA-E6D9E4146605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B971B2E8-7980-06DF-6D1E-DDDD21825E31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1BAF1C5-6D11-7337-4633-ADD59D28C2C0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F3140B28-D900-0770-8CD9-617F0D658D0E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241BF99C-6406-339A-3E97-935C8BF4A500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BE89B2B2-9186-9A01-3094-1DE76B8F8583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E4D7E34B-4AD2-0789-51DB-505D056CCB7A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BAFD4C50-812B-C621-B1F6-A29F14004E4D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pic>
        <p:nvPicPr>
          <p:cNvPr id="58" name="Picture 4" descr="1pcs AS5600 자기 인코더 자기 유도 각도 측정 센서 모듈 12bit 고정밀|반도체 집적회로| - AliExpress">
            <a:extLst>
              <a:ext uri="{FF2B5EF4-FFF2-40B4-BE49-F238E27FC236}">
                <a16:creationId xmlns:a16="http://schemas.microsoft.com/office/drawing/2014/main" id="{5CEC8058-D16C-2721-2D75-CE50B80C8F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6" t="23174" r="35275" b="16395"/>
          <a:stretch/>
        </p:blipFill>
        <p:spPr bwMode="auto">
          <a:xfrm>
            <a:off x="173898" y="609354"/>
            <a:ext cx="1652440" cy="1824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D78E63C5-71D6-A764-72DC-DE0EF50BBCB8}"/>
              </a:ext>
            </a:extLst>
          </p:cNvPr>
          <p:cNvSpPr txBox="1"/>
          <p:nvPr/>
        </p:nvSpPr>
        <p:spPr>
          <a:xfrm rot="16200000">
            <a:off x="204652" y="6564865"/>
            <a:ext cx="326708" cy="948978"/>
          </a:xfrm>
          <a:prstGeom prst="rect">
            <a:avLst/>
          </a:prstGeom>
          <a:solidFill>
            <a:srgbClr val="000000">
              <a:alpha val="21961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DIR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K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PGO</a:t>
            </a:r>
          </a:p>
        </p:txBody>
      </p:sp>
      <p:cxnSp>
        <p:nvCxnSpPr>
          <p:cNvPr id="2048" name="Straight Connector 2047">
            <a:extLst>
              <a:ext uri="{FF2B5EF4-FFF2-40B4-BE49-F238E27FC236}">
                <a16:creationId xmlns:a16="http://schemas.microsoft.com/office/drawing/2014/main" id="{8409266F-FE01-1D8A-1341-FEE655970B5A}"/>
              </a:ext>
            </a:extLst>
          </p:cNvPr>
          <p:cNvCxnSpPr>
            <a:cxnSpLocks/>
          </p:cNvCxnSpPr>
          <p:nvPr/>
        </p:nvCxnSpPr>
        <p:spPr>
          <a:xfrm flipH="1">
            <a:off x="5299146" y="4465078"/>
            <a:ext cx="113402" cy="757797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1" name="Straight Connector 2050">
            <a:extLst>
              <a:ext uri="{FF2B5EF4-FFF2-40B4-BE49-F238E27FC236}">
                <a16:creationId xmlns:a16="http://schemas.microsoft.com/office/drawing/2014/main" id="{0430B441-5771-1AEF-2169-D17E1878FE94}"/>
              </a:ext>
            </a:extLst>
          </p:cNvPr>
          <p:cNvCxnSpPr>
            <a:cxnSpLocks/>
          </p:cNvCxnSpPr>
          <p:nvPr/>
        </p:nvCxnSpPr>
        <p:spPr>
          <a:xfrm>
            <a:off x="8839200" y="1748671"/>
            <a:ext cx="465186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9" name="Straight Connector 2058">
            <a:extLst>
              <a:ext uri="{FF2B5EF4-FFF2-40B4-BE49-F238E27FC236}">
                <a16:creationId xmlns:a16="http://schemas.microsoft.com/office/drawing/2014/main" id="{3C30905E-53C5-ADE2-3C6E-4F59839BAD52}"/>
              </a:ext>
            </a:extLst>
          </p:cNvPr>
          <p:cNvCxnSpPr>
            <a:cxnSpLocks/>
          </p:cNvCxnSpPr>
          <p:nvPr/>
        </p:nvCxnSpPr>
        <p:spPr>
          <a:xfrm>
            <a:off x="8839200" y="3679067"/>
            <a:ext cx="465186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1" name="Straight Connector 2060">
            <a:extLst>
              <a:ext uri="{FF2B5EF4-FFF2-40B4-BE49-F238E27FC236}">
                <a16:creationId xmlns:a16="http://schemas.microsoft.com/office/drawing/2014/main" id="{4EB269DE-11F2-018F-E1DA-D7DBA59233E7}"/>
              </a:ext>
            </a:extLst>
          </p:cNvPr>
          <p:cNvCxnSpPr>
            <a:cxnSpLocks/>
          </p:cNvCxnSpPr>
          <p:nvPr/>
        </p:nvCxnSpPr>
        <p:spPr>
          <a:xfrm>
            <a:off x="9304386" y="1748671"/>
            <a:ext cx="5647" cy="1940679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67" name="Group 2066">
            <a:extLst>
              <a:ext uri="{FF2B5EF4-FFF2-40B4-BE49-F238E27FC236}">
                <a16:creationId xmlns:a16="http://schemas.microsoft.com/office/drawing/2014/main" id="{7B4C207D-44CC-E534-A090-A23BD5A32899}"/>
              </a:ext>
            </a:extLst>
          </p:cNvPr>
          <p:cNvGrpSpPr/>
          <p:nvPr/>
        </p:nvGrpSpPr>
        <p:grpSpPr>
          <a:xfrm>
            <a:off x="5492324" y="595949"/>
            <a:ext cx="763723" cy="180754"/>
            <a:chOff x="3563025" y="2201148"/>
            <a:chExt cx="763723" cy="180754"/>
          </a:xfrm>
        </p:grpSpPr>
        <p:sp>
          <p:nvSpPr>
            <p:cNvPr id="2068" name="Rectangle 2067">
              <a:extLst>
                <a:ext uri="{FF2B5EF4-FFF2-40B4-BE49-F238E27FC236}">
                  <a16:creationId xmlns:a16="http://schemas.microsoft.com/office/drawing/2014/main" id="{BA7DA43F-059A-B7AF-3CAF-6A044002C94F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69" name="Rectangle 2068">
              <a:extLst>
                <a:ext uri="{FF2B5EF4-FFF2-40B4-BE49-F238E27FC236}">
                  <a16:creationId xmlns:a16="http://schemas.microsoft.com/office/drawing/2014/main" id="{C5FAF9D0-9EB0-A9B5-08CA-22E8F0B54666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70" name="Rectangle 2069">
              <a:extLst>
                <a:ext uri="{FF2B5EF4-FFF2-40B4-BE49-F238E27FC236}">
                  <a16:creationId xmlns:a16="http://schemas.microsoft.com/office/drawing/2014/main" id="{E254407B-BBC9-A8A9-CF49-0D835173ADDB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71" name="Rectangle 2070">
              <a:extLst>
                <a:ext uri="{FF2B5EF4-FFF2-40B4-BE49-F238E27FC236}">
                  <a16:creationId xmlns:a16="http://schemas.microsoft.com/office/drawing/2014/main" id="{ADD3C847-AC00-153D-7E44-9682BA055818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072" name="Group 2071">
              <a:extLst>
                <a:ext uri="{FF2B5EF4-FFF2-40B4-BE49-F238E27FC236}">
                  <a16:creationId xmlns:a16="http://schemas.microsoft.com/office/drawing/2014/main" id="{FF242565-2109-D1FF-240E-B70C7C727DF8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2073" name="Rectangle 2072">
                <a:extLst>
                  <a:ext uri="{FF2B5EF4-FFF2-40B4-BE49-F238E27FC236}">
                    <a16:creationId xmlns:a16="http://schemas.microsoft.com/office/drawing/2014/main" id="{BFF9E48C-7F07-D2B2-EB0E-B79A2CCAC8D0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4" name="Rectangle 2073">
                <a:extLst>
                  <a:ext uri="{FF2B5EF4-FFF2-40B4-BE49-F238E27FC236}">
                    <a16:creationId xmlns:a16="http://schemas.microsoft.com/office/drawing/2014/main" id="{BFB88C7E-C5B3-BB96-1E96-CDA1419BCF8D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5" name="Rectangle 2074">
                <a:extLst>
                  <a:ext uri="{FF2B5EF4-FFF2-40B4-BE49-F238E27FC236}">
                    <a16:creationId xmlns:a16="http://schemas.microsoft.com/office/drawing/2014/main" id="{36E61689-794E-7D26-C6CE-6EB1EC6CDECE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6" name="Rectangle 2075">
                <a:extLst>
                  <a:ext uri="{FF2B5EF4-FFF2-40B4-BE49-F238E27FC236}">
                    <a16:creationId xmlns:a16="http://schemas.microsoft.com/office/drawing/2014/main" id="{18A0F608-D8E8-4D23-0F37-4E362DC3C308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cxnSp>
        <p:nvCxnSpPr>
          <p:cNvPr id="2087" name="Straight Connector 2086">
            <a:extLst>
              <a:ext uri="{FF2B5EF4-FFF2-40B4-BE49-F238E27FC236}">
                <a16:creationId xmlns:a16="http://schemas.microsoft.com/office/drawing/2014/main" id="{0C383107-1A73-9143-8CE1-373FC4EFB1F6}"/>
              </a:ext>
            </a:extLst>
          </p:cNvPr>
          <p:cNvCxnSpPr>
            <a:cxnSpLocks/>
          </p:cNvCxnSpPr>
          <p:nvPr/>
        </p:nvCxnSpPr>
        <p:spPr>
          <a:xfrm flipH="1">
            <a:off x="779640" y="6552916"/>
            <a:ext cx="381321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2" name="Straight Connector 2091">
            <a:extLst>
              <a:ext uri="{FF2B5EF4-FFF2-40B4-BE49-F238E27FC236}">
                <a16:creationId xmlns:a16="http://schemas.microsoft.com/office/drawing/2014/main" id="{AEFEBCD6-13D4-51B5-C1E6-3EA0CA32D637}"/>
              </a:ext>
            </a:extLst>
          </p:cNvPr>
          <p:cNvCxnSpPr>
            <a:cxnSpLocks/>
          </p:cNvCxnSpPr>
          <p:nvPr/>
        </p:nvCxnSpPr>
        <p:spPr>
          <a:xfrm flipH="1" flipV="1">
            <a:off x="4795710" y="2690224"/>
            <a:ext cx="1615636" cy="18966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4" name="Straight Connector 2093">
            <a:extLst>
              <a:ext uri="{FF2B5EF4-FFF2-40B4-BE49-F238E27FC236}">
                <a16:creationId xmlns:a16="http://schemas.microsoft.com/office/drawing/2014/main" id="{00F69F31-0946-EB92-DD29-56E52789E270}"/>
              </a:ext>
            </a:extLst>
          </p:cNvPr>
          <p:cNvCxnSpPr>
            <a:cxnSpLocks/>
          </p:cNvCxnSpPr>
          <p:nvPr/>
        </p:nvCxnSpPr>
        <p:spPr>
          <a:xfrm flipH="1" flipV="1">
            <a:off x="4629961" y="2497966"/>
            <a:ext cx="1164672" cy="8696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77" name="Group 2076">
            <a:extLst>
              <a:ext uri="{FF2B5EF4-FFF2-40B4-BE49-F238E27FC236}">
                <a16:creationId xmlns:a16="http://schemas.microsoft.com/office/drawing/2014/main" id="{390D5D99-1AB5-B4D7-B479-279D6443C8B4}"/>
              </a:ext>
            </a:extLst>
          </p:cNvPr>
          <p:cNvGrpSpPr/>
          <p:nvPr/>
        </p:nvGrpSpPr>
        <p:grpSpPr>
          <a:xfrm>
            <a:off x="5720810" y="2416662"/>
            <a:ext cx="763863" cy="381774"/>
            <a:chOff x="3563025" y="2201148"/>
            <a:chExt cx="763863" cy="381774"/>
          </a:xfrm>
        </p:grpSpPr>
        <p:sp>
          <p:nvSpPr>
            <p:cNvPr id="2078" name="Rectangle 2077">
              <a:extLst>
                <a:ext uri="{FF2B5EF4-FFF2-40B4-BE49-F238E27FC236}">
                  <a16:creationId xmlns:a16="http://schemas.microsoft.com/office/drawing/2014/main" id="{B9AFAFE8-583F-CDD5-A0B1-B6C47C37D528}"/>
                </a:ext>
              </a:extLst>
            </p:cNvPr>
            <p:cNvSpPr/>
            <p:nvPr/>
          </p:nvSpPr>
          <p:spPr>
            <a:xfrm>
              <a:off x="4146888" y="240292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81" name="Rectangle 2080">
              <a:extLst>
                <a:ext uri="{FF2B5EF4-FFF2-40B4-BE49-F238E27FC236}">
                  <a16:creationId xmlns:a16="http://schemas.microsoft.com/office/drawing/2014/main" id="{33A129A9-3C5F-E75A-01E8-1AA2BFF37F48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082" name="Group 2081">
              <a:extLst>
                <a:ext uri="{FF2B5EF4-FFF2-40B4-BE49-F238E27FC236}">
                  <a16:creationId xmlns:a16="http://schemas.microsoft.com/office/drawing/2014/main" id="{5FCA3ABE-9957-B9C6-8159-C954DD2B8FA6}"/>
                </a:ext>
              </a:extLst>
            </p:cNvPr>
            <p:cNvGrpSpPr/>
            <p:nvPr/>
          </p:nvGrpSpPr>
          <p:grpSpPr>
            <a:xfrm>
              <a:off x="3612386" y="2255902"/>
              <a:ext cx="657589" cy="273774"/>
              <a:chOff x="3612386" y="2255902"/>
              <a:chExt cx="657589" cy="273774"/>
            </a:xfrm>
          </p:grpSpPr>
          <p:sp>
            <p:nvSpPr>
              <p:cNvPr id="2083" name="Rectangle 2082">
                <a:extLst>
                  <a:ext uri="{FF2B5EF4-FFF2-40B4-BE49-F238E27FC236}">
                    <a16:creationId xmlns:a16="http://schemas.microsoft.com/office/drawing/2014/main" id="{61563403-5D6B-176D-4F3E-D05A2B913174}"/>
                  </a:ext>
                </a:extLst>
              </p:cNvPr>
              <p:cNvSpPr/>
              <p:nvPr/>
            </p:nvSpPr>
            <p:spPr>
              <a:xfrm>
                <a:off x="4197975" y="2457676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86" name="Rectangle 2085">
                <a:extLst>
                  <a:ext uri="{FF2B5EF4-FFF2-40B4-BE49-F238E27FC236}">
                    <a16:creationId xmlns:a16="http://schemas.microsoft.com/office/drawing/2014/main" id="{78F87809-DE72-56D0-F2F4-A414D5A2EB5F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grpSp>
        <p:nvGrpSpPr>
          <p:cNvPr id="2113" name="Group 2112">
            <a:extLst>
              <a:ext uri="{FF2B5EF4-FFF2-40B4-BE49-F238E27FC236}">
                <a16:creationId xmlns:a16="http://schemas.microsoft.com/office/drawing/2014/main" id="{180C4AF4-FD35-CBD5-376F-5AE20A0C6BD5}"/>
              </a:ext>
            </a:extLst>
          </p:cNvPr>
          <p:cNvGrpSpPr/>
          <p:nvPr/>
        </p:nvGrpSpPr>
        <p:grpSpPr>
          <a:xfrm>
            <a:off x="504978" y="887683"/>
            <a:ext cx="763723" cy="180754"/>
            <a:chOff x="3563025" y="2201148"/>
            <a:chExt cx="763723" cy="180754"/>
          </a:xfrm>
        </p:grpSpPr>
        <p:sp>
          <p:nvSpPr>
            <p:cNvPr id="2114" name="Rectangle 2113">
              <a:extLst>
                <a:ext uri="{FF2B5EF4-FFF2-40B4-BE49-F238E27FC236}">
                  <a16:creationId xmlns:a16="http://schemas.microsoft.com/office/drawing/2014/main" id="{F484C70F-E2A6-ECD9-5B9A-5DB337502D28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5" name="Rectangle 2114">
              <a:extLst>
                <a:ext uri="{FF2B5EF4-FFF2-40B4-BE49-F238E27FC236}">
                  <a16:creationId xmlns:a16="http://schemas.microsoft.com/office/drawing/2014/main" id="{58DA6160-884E-1057-D1A7-22C0FD0DB646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6" name="Rectangle 2115">
              <a:extLst>
                <a:ext uri="{FF2B5EF4-FFF2-40B4-BE49-F238E27FC236}">
                  <a16:creationId xmlns:a16="http://schemas.microsoft.com/office/drawing/2014/main" id="{CBDDF6F8-BC5F-9B13-DECD-13AC609E0610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7" name="Rectangle 2116">
              <a:extLst>
                <a:ext uri="{FF2B5EF4-FFF2-40B4-BE49-F238E27FC236}">
                  <a16:creationId xmlns:a16="http://schemas.microsoft.com/office/drawing/2014/main" id="{68E82823-7E37-B33D-BDF5-74FA9FAE9042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118" name="Group 2117">
              <a:extLst>
                <a:ext uri="{FF2B5EF4-FFF2-40B4-BE49-F238E27FC236}">
                  <a16:creationId xmlns:a16="http://schemas.microsoft.com/office/drawing/2014/main" id="{1F230BCF-3A8D-1F3F-9AC8-640DFF0A352F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2119" name="Rectangle 2118">
                <a:extLst>
                  <a:ext uri="{FF2B5EF4-FFF2-40B4-BE49-F238E27FC236}">
                    <a16:creationId xmlns:a16="http://schemas.microsoft.com/office/drawing/2014/main" id="{FFAA171C-8B43-D651-DAB1-59133CD93635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0" name="Rectangle 2119">
                <a:extLst>
                  <a:ext uri="{FF2B5EF4-FFF2-40B4-BE49-F238E27FC236}">
                    <a16:creationId xmlns:a16="http://schemas.microsoft.com/office/drawing/2014/main" id="{84019A10-FE85-57DD-2C08-128A61C9F919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1" name="Rectangle 2120">
                <a:extLst>
                  <a:ext uri="{FF2B5EF4-FFF2-40B4-BE49-F238E27FC236}">
                    <a16:creationId xmlns:a16="http://schemas.microsoft.com/office/drawing/2014/main" id="{3FE75A2C-C9DC-1D57-C089-7C6ACC4B7595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2" name="Rectangle 2121">
                <a:extLst>
                  <a:ext uri="{FF2B5EF4-FFF2-40B4-BE49-F238E27FC236}">
                    <a16:creationId xmlns:a16="http://schemas.microsoft.com/office/drawing/2014/main" id="{4D59FC2E-813A-D2CE-5918-7237004FEA70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sp>
        <p:nvSpPr>
          <p:cNvPr id="2123" name="TextBox 2122">
            <a:extLst>
              <a:ext uri="{FF2B5EF4-FFF2-40B4-BE49-F238E27FC236}">
                <a16:creationId xmlns:a16="http://schemas.microsoft.com/office/drawing/2014/main" id="{3A51B3A5-F55B-3E54-9181-A64A5A6ED8E8}"/>
              </a:ext>
            </a:extLst>
          </p:cNvPr>
          <p:cNvSpPr txBox="1"/>
          <p:nvPr/>
        </p:nvSpPr>
        <p:spPr>
          <a:xfrm rot="16200000">
            <a:off x="596680" y="775302"/>
            <a:ext cx="326708" cy="948978"/>
          </a:xfrm>
          <a:prstGeom prst="rect">
            <a:avLst/>
          </a:prstGeom>
          <a:solidFill>
            <a:srgbClr val="000000">
              <a:alpha val="21961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DIR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K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PGO</a:t>
            </a:r>
          </a:p>
        </p:txBody>
      </p:sp>
      <p:cxnSp>
        <p:nvCxnSpPr>
          <p:cNvPr id="2124" name="Straight Connector 2123">
            <a:extLst>
              <a:ext uri="{FF2B5EF4-FFF2-40B4-BE49-F238E27FC236}">
                <a16:creationId xmlns:a16="http://schemas.microsoft.com/office/drawing/2014/main" id="{32D74437-240F-97FC-FF1A-807DFA455E7D}"/>
              </a:ext>
            </a:extLst>
          </p:cNvPr>
          <p:cNvCxnSpPr>
            <a:cxnSpLocks/>
          </p:cNvCxnSpPr>
          <p:nvPr/>
        </p:nvCxnSpPr>
        <p:spPr>
          <a:xfrm flipH="1">
            <a:off x="4216549" y="2880028"/>
            <a:ext cx="2755751" cy="8155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2" name="Straight Connector 2131">
            <a:extLst>
              <a:ext uri="{FF2B5EF4-FFF2-40B4-BE49-F238E27FC236}">
                <a16:creationId xmlns:a16="http://schemas.microsoft.com/office/drawing/2014/main" id="{8C5F16E6-63F1-4569-F223-C28BCBF1D986}"/>
              </a:ext>
            </a:extLst>
          </p:cNvPr>
          <p:cNvCxnSpPr>
            <a:cxnSpLocks/>
          </p:cNvCxnSpPr>
          <p:nvPr/>
        </p:nvCxnSpPr>
        <p:spPr>
          <a:xfrm>
            <a:off x="2625014" y="943124"/>
            <a:ext cx="3959963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0AE024A-ABF4-8979-DB71-DEBEDE9DFD19}"/>
              </a:ext>
            </a:extLst>
          </p:cNvPr>
          <p:cNvGrpSpPr/>
          <p:nvPr/>
        </p:nvGrpSpPr>
        <p:grpSpPr>
          <a:xfrm>
            <a:off x="4534665" y="1908684"/>
            <a:ext cx="377402" cy="503104"/>
            <a:chOff x="3734042" y="1880266"/>
            <a:chExt cx="377402" cy="503104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C216CD4E-3BF7-8FB7-D3D5-FC5FC40FE6F3}"/>
                </a:ext>
              </a:extLst>
            </p:cNvPr>
            <p:cNvGrpSpPr/>
            <p:nvPr/>
          </p:nvGrpSpPr>
          <p:grpSpPr>
            <a:xfrm>
              <a:off x="3734042" y="2202616"/>
              <a:ext cx="375212" cy="180754"/>
              <a:chOff x="3951536" y="2201148"/>
              <a:chExt cx="375212" cy="180754"/>
            </a:xfrm>
          </p:grpSpPr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E776420-8CF9-C4D6-A515-C29A0D5FDC6E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23444885-7232-5B85-E684-21E962D63AAD}"/>
                  </a:ext>
                </a:extLst>
              </p:cNvPr>
              <p:cNvSpPr/>
              <p:nvPr/>
            </p:nvSpPr>
            <p:spPr>
              <a:xfrm>
                <a:off x="3951536" y="2201902"/>
                <a:ext cx="180000" cy="18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grpSp>
            <p:nvGrpSpPr>
              <p:cNvPr id="2049" name="Group 2048">
                <a:extLst>
                  <a:ext uri="{FF2B5EF4-FFF2-40B4-BE49-F238E27FC236}">
                    <a16:creationId xmlns:a16="http://schemas.microsoft.com/office/drawing/2014/main" id="{10494E6E-AB04-EA87-D21A-3D9CE42C15CC}"/>
                  </a:ext>
                </a:extLst>
              </p:cNvPr>
              <p:cNvGrpSpPr/>
              <p:nvPr/>
            </p:nvGrpSpPr>
            <p:grpSpPr>
              <a:xfrm>
                <a:off x="4002686" y="2255902"/>
                <a:ext cx="267149" cy="72000"/>
                <a:chOff x="4002686" y="2255902"/>
                <a:chExt cx="267149" cy="72000"/>
              </a:xfrm>
            </p:grpSpPr>
            <p:sp>
              <p:nvSpPr>
                <p:cNvPr id="2052" name="Rectangle 2051">
                  <a:extLst>
                    <a:ext uri="{FF2B5EF4-FFF2-40B4-BE49-F238E27FC236}">
                      <a16:creationId xmlns:a16="http://schemas.microsoft.com/office/drawing/2014/main" id="{8F11E935-5D90-A91F-3788-B6E1EEC6F9D5}"/>
                    </a:ext>
                  </a:extLst>
                </p:cNvPr>
                <p:cNvSpPr/>
                <p:nvPr/>
              </p:nvSpPr>
              <p:spPr>
                <a:xfrm>
                  <a:off x="4197835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053" name="Rectangle 2052">
                  <a:extLst>
                    <a:ext uri="{FF2B5EF4-FFF2-40B4-BE49-F238E27FC236}">
                      <a16:creationId xmlns:a16="http://schemas.microsoft.com/office/drawing/2014/main" id="{F8AE5D47-D0C6-CDD2-4DB4-EAAE93E92549}"/>
                    </a:ext>
                  </a:extLst>
                </p:cNvPr>
                <p:cNvSpPr/>
                <p:nvPr/>
              </p:nvSpPr>
              <p:spPr>
                <a:xfrm>
                  <a:off x="40026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</p:grpSp>
        </p:grp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765F899F-303C-0C7A-31A9-9F18F12D7BC4}"/>
                </a:ext>
              </a:extLst>
            </p:cNvPr>
            <p:cNvSpPr txBox="1"/>
            <p:nvPr/>
          </p:nvSpPr>
          <p:spPr>
            <a:xfrm rot="16200000">
              <a:off x="3775355" y="1852153"/>
              <a:ext cx="307976" cy="364202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CK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DA</a:t>
              </a:r>
            </a:p>
          </p:txBody>
        </p:sp>
      </p:grpSp>
      <p:cxnSp>
        <p:nvCxnSpPr>
          <p:cNvPr id="2057" name="Straight Connector 2056">
            <a:extLst>
              <a:ext uri="{FF2B5EF4-FFF2-40B4-BE49-F238E27FC236}">
                <a16:creationId xmlns:a16="http://schemas.microsoft.com/office/drawing/2014/main" id="{6A5A0B1F-A707-C6E6-E739-EBE89EB5D2B6}"/>
              </a:ext>
            </a:extLst>
          </p:cNvPr>
          <p:cNvCxnSpPr>
            <a:cxnSpLocks/>
          </p:cNvCxnSpPr>
          <p:nvPr/>
        </p:nvCxnSpPr>
        <p:spPr>
          <a:xfrm flipH="1" flipV="1">
            <a:off x="4013314" y="3088426"/>
            <a:ext cx="2777724" cy="3707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58" name="Group 2057">
            <a:extLst>
              <a:ext uri="{FF2B5EF4-FFF2-40B4-BE49-F238E27FC236}">
                <a16:creationId xmlns:a16="http://schemas.microsoft.com/office/drawing/2014/main" id="{F4AC2144-C9B1-7EFB-A45A-01BF867F8402}"/>
              </a:ext>
            </a:extLst>
          </p:cNvPr>
          <p:cNvGrpSpPr/>
          <p:nvPr/>
        </p:nvGrpSpPr>
        <p:grpSpPr>
          <a:xfrm>
            <a:off x="3944982" y="2056228"/>
            <a:ext cx="377402" cy="503104"/>
            <a:chOff x="3734042" y="1880266"/>
            <a:chExt cx="377402" cy="503104"/>
          </a:xfrm>
        </p:grpSpPr>
        <p:grpSp>
          <p:nvGrpSpPr>
            <p:cNvPr id="2060" name="Group 2059">
              <a:extLst>
                <a:ext uri="{FF2B5EF4-FFF2-40B4-BE49-F238E27FC236}">
                  <a16:creationId xmlns:a16="http://schemas.microsoft.com/office/drawing/2014/main" id="{2651D308-2168-C817-6C5B-320F88DF601C}"/>
                </a:ext>
              </a:extLst>
            </p:cNvPr>
            <p:cNvGrpSpPr/>
            <p:nvPr/>
          </p:nvGrpSpPr>
          <p:grpSpPr>
            <a:xfrm>
              <a:off x="3734042" y="2202616"/>
              <a:ext cx="375212" cy="180754"/>
              <a:chOff x="3951536" y="2201148"/>
              <a:chExt cx="375212" cy="180754"/>
            </a:xfrm>
          </p:grpSpPr>
          <p:sp>
            <p:nvSpPr>
              <p:cNvPr id="2063" name="Rectangle 2062">
                <a:extLst>
                  <a:ext uri="{FF2B5EF4-FFF2-40B4-BE49-F238E27FC236}">
                    <a16:creationId xmlns:a16="http://schemas.microsoft.com/office/drawing/2014/main" id="{3A6AD00D-8474-ED08-9749-B841A91560EB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64" name="Rectangle 2063">
                <a:extLst>
                  <a:ext uri="{FF2B5EF4-FFF2-40B4-BE49-F238E27FC236}">
                    <a16:creationId xmlns:a16="http://schemas.microsoft.com/office/drawing/2014/main" id="{911E0200-B601-3D22-7F08-226DAA8DEAA3}"/>
                  </a:ext>
                </a:extLst>
              </p:cNvPr>
              <p:cNvSpPr/>
              <p:nvPr/>
            </p:nvSpPr>
            <p:spPr>
              <a:xfrm>
                <a:off x="3951536" y="2201902"/>
                <a:ext cx="180000" cy="18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grpSp>
            <p:nvGrpSpPr>
              <p:cNvPr id="2065" name="Group 2064">
                <a:extLst>
                  <a:ext uri="{FF2B5EF4-FFF2-40B4-BE49-F238E27FC236}">
                    <a16:creationId xmlns:a16="http://schemas.microsoft.com/office/drawing/2014/main" id="{FB7AED54-14B5-2C0A-9AB3-6AC4BF66837A}"/>
                  </a:ext>
                </a:extLst>
              </p:cNvPr>
              <p:cNvGrpSpPr/>
              <p:nvPr/>
            </p:nvGrpSpPr>
            <p:grpSpPr>
              <a:xfrm>
                <a:off x="4002686" y="2255902"/>
                <a:ext cx="267149" cy="72000"/>
                <a:chOff x="4002686" y="2255902"/>
                <a:chExt cx="267149" cy="72000"/>
              </a:xfrm>
            </p:grpSpPr>
            <p:sp>
              <p:nvSpPr>
                <p:cNvPr id="2066" name="Rectangle 2065">
                  <a:extLst>
                    <a:ext uri="{FF2B5EF4-FFF2-40B4-BE49-F238E27FC236}">
                      <a16:creationId xmlns:a16="http://schemas.microsoft.com/office/drawing/2014/main" id="{B89C27BE-3067-DD43-CDD9-E36DF948448F}"/>
                    </a:ext>
                  </a:extLst>
                </p:cNvPr>
                <p:cNvSpPr/>
                <p:nvPr/>
              </p:nvSpPr>
              <p:spPr>
                <a:xfrm>
                  <a:off x="4197835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079" name="Rectangle 2078">
                  <a:extLst>
                    <a:ext uri="{FF2B5EF4-FFF2-40B4-BE49-F238E27FC236}">
                      <a16:creationId xmlns:a16="http://schemas.microsoft.com/office/drawing/2014/main" id="{BB2856D7-DA7C-89CA-79BE-00F3ABD39C8A}"/>
                    </a:ext>
                  </a:extLst>
                </p:cNvPr>
                <p:cNvSpPr/>
                <p:nvPr/>
              </p:nvSpPr>
              <p:spPr>
                <a:xfrm>
                  <a:off x="40026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</p:grpSp>
        </p:grpSp>
        <p:sp>
          <p:nvSpPr>
            <p:cNvPr id="2062" name="TextBox 2061">
              <a:extLst>
                <a:ext uri="{FF2B5EF4-FFF2-40B4-BE49-F238E27FC236}">
                  <a16:creationId xmlns:a16="http://schemas.microsoft.com/office/drawing/2014/main" id="{2DB54B48-EF51-8486-399B-3C4172C5DD38}"/>
                </a:ext>
              </a:extLst>
            </p:cNvPr>
            <p:cNvSpPr txBox="1"/>
            <p:nvPr/>
          </p:nvSpPr>
          <p:spPr>
            <a:xfrm rot="16200000">
              <a:off x="3775355" y="1852153"/>
              <a:ext cx="307976" cy="364202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1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2</a:t>
              </a:r>
            </a:p>
          </p:txBody>
        </p:sp>
      </p:grpSp>
      <p:grpSp>
        <p:nvGrpSpPr>
          <p:cNvPr id="2080" name="Group 2079">
            <a:extLst>
              <a:ext uri="{FF2B5EF4-FFF2-40B4-BE49-F238E27FC236}">
                <a16:creationId xmlns:a16="http://schemas.microsoft.com/office/drawing/2014/main" id="{633D9302-660B-AAAB-483C-E010FBD2BCDE}"/>
              </a:ext>
            </a:extLst>
          </p:cNvPr>
          <p:cNvGrpSpPr/>
          <p:nvPr/>
        </p:nvGrpSpPr>
        <p:grpSpPr>
          <a:xfrm>
            <a:off x="3150355" y="4403142"/>
            <a:ext cx="180000" cy="568421"/>
            <a:chOff x="3929254" y="2202616"/>
            <a:chExt cx="180000" cy="568421"/>
          </a:xfrm>
        </p:grpSpPr>
        <p:grpSp>
          <p:nvGrpSpPr>
            <p:cNvPr id="2084" name="Group 2083">
              <a:extLst>
                <a:ext uri="{FF2B5EF4-FFF2-40B4-BE49-F238E27FC236}">
                  <a16:creationId xmlns:a16="http://schemas.microsoft.com/office/drawing/2014/main" id="{B95D8049-55FD-3EEE-829A-F715986E4203}"/>
                </a:ext>
              </a:extLst>
            </p:cNvPr>
            <p:cNvGrpSpPr/>
            <p:nvPr/>
          </p:nvGrpSpPr>
          <p:grpSpPr>
            <a:xfrm>
              <a:off x="3929254" y="2202616"/>
              <a:ext cx="180000" cy="180000"/>
              <a:chOff x="4146748" y="2201148"/>
              <a:chExt cx="180000" cy="180000"/>
            </a:xfrm>
          </p:grpSpPr>
          <p:sp>
            <p:nvSpPr>
              <p:cNvPr id="2088" name="Rectangle 2087">
                <a:extLst>
                  <a:ext uri="{FF2B5EF4-FFF2-40B4-BE49-F238E27FC236}">
                    <a16:creationId xmlns:a16="http://schemas.microsoft.com/office/drawing/2014/main" id="{0F6C6A27-28C7-4528-63EC-AB2407D62ACC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91" name="Rectangle 2090">
                <a:extLst>
                  <a:ext uri="{FF2B5EF4-FFF2-40B4-BE49-F238E27FC236}">
                    <a16:creationId xmlns:a16="http://schemas.microsoft.com/office/drawing/2014/main" id="{F5411D2F-A47A-3E11-46FC-653AC93AACA7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  <p:sp>
          <p:nvSpPr>
            <p:cNvPr id="2085" name="TextBox 2084">
              <a:extLst>
                <a:ext uri="{FF2B5EF4-FFF2-40B4-BE49-F238E27FC236}">
                  <a16:creationId xmlns:a16="http://schemas.microsoft.com/office/drawing/2014/main" id="{77690487-C6D0-EFF8-1DCF-8A0C59281800}"/>
                </a:ext>
              </a:extLst>
            </p:cNvPr>
            <p:cNvSpPr txBox="1"/>
            <p:nvPr/>
          </p:nvSpPr>
          <p:spPr>
            <a:xfrm rot="16200000">
              <a:off x="3835932" y="2497715"/>
              <a:ext cx="377367" cy="169277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PWM</a:t>
              </a:r>
            </a:p>
          </p:txBody>
        </p:sp>
      </p:grpSp>
      <p:grpSp>
        <p:nvGrpSpPr>
          <p:cNvPr id="2107" name="Group 2106">
            <a:extLst>
              <a:ext uri="{FF2B5EF4-FFF2-40B4-BE49-F238E27FC236}">
                <a16:creationId xmlns:a16="http://schemas.microsoft.com/office/drawing/2014/main" id="{D705D245-15EB-4676-BDA4-E69AAF0F58FA}"/>
              </a:ext>
            </a:extLst>
          </p:cNvPr>
          <p:cNvGrpSpPr/>
          <p:nvPr/>
        </p:nvGrpSpPr>
        <p:grpSpPr>
          <a:xfrm>
            <a:off x="7033584" y="3639927"/>
            <a:ext cx="180000" cy="180000"/>
            <a:chOff x="1881471" y="5042531"/>
            <a:chExt cx="180000" cy="180000"/>
          </a:xfrm>
        </p:grpSpPr>
        <p:sp>
          <p:nvSpPr>
            <p:cNvPr id="2100" name="Rectangle 2099">
              <a:extLst>
                <a:ext uri="{FF2B5EF4-FFF2-40B4-BE49-F238E27FC236}">
                  <a16:creationId xmlns:a16="http://schemas.microsoft.com/office/drawing/2014/main" id="{0F37D607-E2DF-8082-FE12-4A427329E1C7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03" name="Rectangle 2102">
              <a:extLst>
                <a:ext uri="{FF2B5EF4-FFF2-40B4-BE49-F238E27FC236}">
                  <a16:creationId xmlns:a16="http://schemas.microsoft.com/office/drawing/2014/main" id="{B1E26A98-E1DC-5380-B343-571496DBB90D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08" name="Group 2107">
            <a:extLst>
              <a:ext uri="{FF2B5EF4-FFF2-40B4-BE49-F238E27FC236}">
                <a16:creationId xmlns:a16="http://schemas.microsoft.com/office/drawing/2014/main" id="{2D685B5D-8455-29F8-10FB-EFDEABAC8F22}"/>
              </a:ext>
            </a:extLst>
          </p:cNvPr>
          <p:cNvGrpSpPr/>
          <p:nvPr/>
        </p:nvGrpSpPr>
        <p:grpSpPr>
          <a:xfrm>
            <a:off x="3150612" y="3606075"/>
            <a:ext cx="180000" cy="180000"/>
            <a:chOff x="1881471" y="5042531"/>
            <a:chExt cx="180000" cy="180000"/>
          </a:xfrm>
        </p:grpSpPr>
        <p:sp>
          <p:nvSpPr>
            <p:cNvPr id="2110" name="Rectangle 2109">
              <a:extLst>
                <a:ext uri="{FF2B5EF4-FFF2-40B4-BE49-F238E27FC236}">
                  <a16:creationId xmlns:a16="http://schemas.microsoft.com/office/drawing/2014/main" id="{39895CE2-2FA6-6B64-586C-A0AAF63CDD88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1" name="Rectangle 2110">
              <a:extLst>
                <a:ext uri="{FF2B5EF4-FFF2-40B4-BE49-F238E27FC236}">
                  <a16:creationId xmlns:a16="http://schemas.microsoft.com/office/drawing/2014/main" id="{02C2A66A-6321-352A-0BDE-876574EB1BDB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2151" name="Straight Connector 2150">
            <a:extLst>
              <a:ext uri="{FF2B5EF4-FFF2-40B4-BE49-F238E27FC236}">
                <a16:creationId xmlns:a16="http://schemas.microsoft.com/office/drawing/2014/main" id="{163C63C2-1AF9-4303-8287-5E08FCA69816}"/>
              </a:ext>
            </a:extLst>
          </p:cNvPr>
          <p:cNvCxnSpPr>
            <a:cxnSpLocks/>
            <a:stCxn id="2155" idx="1"/>
            <a:endCxn id="2159" idx="3"/>
          </p:cNvCxnSpPr>
          <p:nvPr/>
        </p:nvCxnSpPr>
        <p:spPr>
          <a:xfrm flipH="1" flipV="1">
            <a:off x="3667471" y="3102903"/>
            <a:ext cx="2844022" cy="603050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54" name="Group 2153">
            <a:extLst>
              <a:ext uri="{FF2B5EF4-FFF2-40B4-BE49-F238E27FC236}">
                <a16:creationId xmlns:a16="http://schemas.microsoft.com/office/drawing/2014/main" id="{7ABA035A-6DC2-9AC7-B760-6C0BBD5D23B7}"/>
              </a:ext>
            </a:extLst>
          </p:cNvPr>
          <p:cNvGrpSpPr/>
          <p:nvPr/>
        </p:nvGrpSpPr>
        <p:grpSpPr>
          <a:xfrm>
            <a:off x="6511493" y="3615953"/>
            <a:ext cx="180000" cy="180000"/>
            <a:chOff x="1881471" y="5042531"/>
            <a:chExt cx="180000" cy="180000"/>
          </a:xfrm>
        </p:grpSpPr>
        <p:sp>
          <p:nvSpPr>
            <p:cNvPr id="2155" name="Rectangle 2154">
              <a:extLst>
                <a:ext uri="{FF2B5EF4-FFF2-40B4-BE49-F238E27FC236}">
                  <a16:creationId xmlns:a16="http://schemas.microsoft.com/office/drawing/2014/main" id="{1C424EFD-BD78-F9DE-CED2-7C4C4E93DF04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56" name="Rectangle 2155">
              <a:extLst>
                <a:ext uri="{FF2B5EF4-FFF2-40B4-BE49-F238E27FC236}">
                  <a16:creationId xmlns:a16="http://schemas.microsoft.com/office/drawing/2014/main" id="{6EDC0E68-E657-2859-6B43-3BF378CE12EE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57" name="Group 2156">
            <a:extLst>
              <a:ext uri="{FF2B5EF4-FFF2-40B4-BE49-F238E27FC236}">
                <a16:creationId xmlns:a16="http://schemas.microsoft.com/office/drawing/2014/main" id="{B2B0D592-D923-18B1-6059-CBC0B8359EB6}"/>
              </a:ext>
            </a:extLst>
          </p:cNvPr>
          <p:cNvGrpSpPr/>
          <p:nvPr/>
        </p:nvGrpSpPr>
        <p:grpSpPr>
          <a:xfrm>
            <a:off x="3544384" y="3012149"/>
            <a:ext cx="180000" cy="180000"/>
            <a:chOff x="1881471" y="5042531"/>
            <a:chExt cx="180000" cy="180000"/>
          </a:xfrm>
        </p:grpSpPr>
        <p:sp>
          <p:nvSpPr>
            <p:cNvPr id="2158" name="Rectangle 2157">
              <a:extLst>
                <a:ext uri="{FF2B5EF4-FFF2-40B4-BE49-F238E27FC236}">
                  <a16:creationId xmlns:a16="http://schemas.microsoft.com/office/drawing/2014/main" id="{7BE9D5F4-7E68-D967-DCCB-8777E7FCA7E9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59" name="Rectangle 2158">
              <a:extLst>
                <a:ext uri="{FF2B5EF4-FFF2-40B4-BE49-F238E27FC236}">
                  <a16:creationId xmlns:a16="http://schemas.microsoft.com/office/drawing/2014/main" id="{D9930BAF-7A16-2CA2-5D0B-6663694A6884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2160" name="Straight Connector 2159">
            <a:extLst>
              <a:ext uri="{FF2B5EF4-FFF2-40B4-BE49-F238E27FC236}">
                <a16:creationId xmlns:a16="http://schemas.microsoft.com/office/drawing/2014/main" id="{E371A812-8495-79E8-A624-7C5C4872A4BB}"/>
              </a:ext>
            </a:extLst>
          </p:cNvPr>
          <p:cNvCxnSpPr>
            <a:cxnSpLocks/>
          </p:cNvCxnSpPr>
          <p:nvPr/>
        </p:nvCxnSpPr>
        <p:spPr>
          <a:xfrm flipH="1">
            <a:off x="3249130" y="1557071"/>
            <a:ext cx="133788" cy="768918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49" name="Group 2148">
            <a:extLst>
              <a:ext uri="{FF2B5EF4-FFF2-40B4-BE49-F238E27FC236}">
                <a16:creationId xmlns:a16="http://schemas.microsoft.com/office/drawing/2014/main" id="{A5922155-D8D6-B553-5A86-97B6BF9F81C2}"/>
              </a:ext>
            </a:extLst>
          </p:cNvPr>
          <p:cNvGrpSpPr/>
          <p:nvPr/>
        </p:nvGrpSpPr>
        <p:grpSpPr>
          <a:xfrm>
            <a:off x="3159130" y="2058280"/>
            <a:ext cx="574655" cy="512297"/>
            <a:chOff x="3173684" y="1861022"/>
            <a:chExt cx="574655" cy="512297"/>
          </a:xfrm>
        </p:grpSpPr>
        <p:grpSp>
          <p:nvGrpSpPr>
            <p:cNvPr id="2129" name="Group 2128">
              <a:extLst>
                <a:ext uri="{FF2B5EF4-FFF2-40B4-BE49-F238E27FC236}">
                  <a16:creationId xmlns:a16="http://schemas.microsoft.com/office/drawing/2014/main" id="{C42024DF-652C-D2C4-EBB7-C8784C6E3701}"/>
                </a:ext>
              </a:extLst>
            </p:cNvPr>
            <p:cNvGrpSpPr/>
            <p:nvPr/>
          </p:nvGrpSpPr>
          <p:grpSpPr>
            <a:xfrm>
              <a:off x="3173684" y="1861022"/>
              <a:ext cx="574655" cy="511340"/>
              <a:chOff x="3534599" y="1872030"/>
              <a:chExt cx="574655" cy="511340"/>
            </a:xfrm>
          </p:grpSpPr>
          <p:grpSp>
            <p:nvGrpSpPr>
              <p:cNvPr id="2131" name="Group 2130">
                <a:extLst>
                  <a:ext uri="{FF2B5EF4-FFF2-40B4-BE49-F238E27FC236}">
                    <a16:creationId xmlns:a16="http://schemas.microsoft.com/office/drawing/2014/main" id="{0B80B62B-DDBF-53B5-51A1-BB47210EAFA3}"/>
                  </a:ext>
                </a:extLst>
              </p:cNvPr>
              <p:cNvGrpSpPr/>
              <p:nvPr/>
            </p:nvGrpSpPr>
            <p:grpSpPr>
              <a:xfrm>
                <a:off x="3734042" y="2202616"/>
                <a:ext cx="375212" cy="180754"/>
                <a:chOff x="3951536" y="2201148"/>
                <a:chExt cx="375212" cy="180754"/>
              </a:xfrm>
            </p:grpSpPr>
            <p:sp>
              <p:nvSpPr>
                <p:cNvPr id="2134" name="Rectangle 2133">
                  <a:extLst>
                    <a:ext uri="{FF2B5EF4-FFF2-40B4-BE49-F238E27FC236}">
                      <a16:creationId xmlns:a16="http://schemas.microsoft.com/office/drawing/2014/main" id="{C32219A4-0F04-5BBD-1232-07AFFE687C6D}"/>
                    </a:ext>
                  </a:extLst>
                </p:cNvPr>
                <p:cNvSpPr/>
                <p:nvPr/>
              </p:nvSpPr>
              <p:spPr>
                <a:xfrm>
                  <a:off x="4146748" y="2201148"/>
                  <a:ext cx="180000" cy="18000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135" name="Rectangle 2134">
                  <a:extLst>
                    <a:ext uri="{FF2B5EF4-FFF2-40B4-BE49-F238E27FC236}">
                      <a16:creationId xmlns:a16="http://schemas.microsoft.com/office/drawing/2014/main" id="{F0E6A9D1-5B2F-1CB1-77E7-E8F276B00F43}"/>
                    </a:ext>
                  </a:extLst>
                </p:cNvPr>
                <p:cNvSpPr/>
                <p:nvPr/>
              </p:nvSpPr>
              <p:spPr>
                <a:xfrm>
                  <a:off x="3951536" y="2201902"/>
                  <a:ext cx="180000" cy="18000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grpSp>
              <p:nvGrpSpPr>
                <p:cNvPr id="2136" name="Group 2135">
                  <a:extLst>
                    <a:ext uri="{FF2B5EF4-FFF2-40B4-BE49-F238E27FC236}">
                      <a16:creationId xmlns:a16="http://schemas.microsoft.com/office/drawing/2014/main" id="{3A80C722-02FA-E384-A598-269551496BD1}"/>
                    </a:ext>
                  </a:extLst>
                </p:cNvPr>
                <p:cNvGrpSpPr/>
                <p:nvPr/>
              </p:nvGrpSpPr>
              <p:grpSpPr>
                <a:xfrm>
                  <a:off x="4002686" y="2255902"/>
                  <a:ext cx="267149" cy="72000"/>
                  <a:chOff x="4002686" y="2255902"/>
                  <a:chExt cx="267149" cy="72000"/>
                </a:xfrm>
              </p:grpSpPr>
              <p:sp>
                <p:nvSpPr>
                  <p:cNvPr id="2137" name="Rectangle 2136">
                    <a:extLst>
                      <a:ext uri="{FF2B5EF4-FFF2-40B4-BE49-F238E27FC236}">
                        <a16:creationId xmlns:a16="http://schemas.microsoft.com/office/drawing/2014/main" id="{A865B778-2959-936C-C267-7357FBA9BF66}"/>
                      </a:ext>
                    </a:extLst>
                  </p:cNvPr>
                  <p:cNvSpPr/>
                  <p:nvPr/>
                </p:nvSpPr>
                <p:spPr>
                  <a:xfrm>
                    <a:off x="4197835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  <p:sp>
                <p:nvSpPr>
                  <p:cNvPr id="2146" name="Rectangle 2145">
                    <a:extLst>
                      <a:ext uri="{FF2B5EF4-FFF2-40B4-BE49-F238E27FC236}">
                        <a16:creationId xmlns:a16="http://schemas.microsoft.com/office/drawing/2014/main" id="{C128AB1F-A9BA-FAC3-9C69-08261EEE4AC5}"/>
                      </a:ext>
                    </a:extLst>
                  </p:cNvPr>
                  <p:cNvSpPr/>
                  <p:nvPr/>
                </p:nvSpPr>
                <p:spPr>
                  <a:xfrm>
                    <a:off x="4002686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</p:grpSp>
          </p:grpSp>
          <p:sp>
            <p:nvSpPr>
              <p:cNvPr id="2133" name="TextBox 2132">
                <a:extLst>
                  <a:ext uri="{FF2B5EF4-FFF2-40B4-BE49-F238E27FC236}">
                    <a16:creationId xmlns:a16="http://schemas.microsoft.com/office/drawing/2014/main" id="{DBCD49E3-01FF-B93F-1317-B7B6AD71A28E}"/>
                  </a:ext>
                </a:extLst>
              </p:cNvPr>
              <p:cNvSpPr txBox="1"/>
              <p:nvPr/>
            </p:nvSpPr>
            <p:spPr>
              <a:xfrm rot="16200000">
                <a:off x="3660175" y="1746454"/>
                <a:ext cx="307976" cy="559127"/>
              </a:xfrm>
              <a:prstGeom prst="rect">
                <a:avLst/>
              </a:prstGeom>
              <a:solidFill>
                <a:srgbClr val="959595">
                  <a:alpha val="67059"/>
                </a:srgbClr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DIR</a:t>
                </a:r>
              </a:p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PO</a:t>
                </a:r>
              </a:p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OUT</a:t>
                </a:r>
              </a:p>
            </p:txBody>
          </p:sp>
        </p:grpSp>
        <p:sp>
          <p:nvSpPr>
            <p:cNvPr id="2147" name="Rectangle 2146">
              <a:extLst>
                <a:ext uri="{FF2B5EF4-FFF2-40B4-BE49-F238E27FC236}">
                  <a16:creationId xmlns:a16="http://schemas.microsoft.com/office/drawing/2014/main" id="{8FAED32A-829C-C848-D532-FA9CA92A7805}"/>
                </a:ext>
              </a:extLst>
            </p:cNvPr>
            <p:cNvSpPr/>
            <p:nvPr/>
          </p:nvSpPr>
          <p:spPr>
            <a:xfrm>
              <a:off x="3173684" y="2193319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48" name="Rectangle 2147">
              <a:extLst>
                <a:ext uri="{FF2B5EF4-FFF2-40B4-BE49-F238E27FC236}">
                  <a16:creationId xmlns:a16="http://schemas.microsoft.com/office/drawing/2014/main" id="{16E1BEA4-2AB7-3B7B-42DA-BB82B18A1D82}"/>
                </a:ext>
              </a:extLst>
            </p:cNvPr>
            <p:cNvSpPr/>
            <p:nvPr/>
          </p:nvSpPr>
          <p:spPr>
            <a:xfrm>
              <a:off x="3224834" y="2247319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70" name="Group 2169">
            <a:extLst>
              <a:ext uri="{FF2B5EF4-FFF2-40B4-BE49-F238E27FC236}">
                <a16:creationId xmlns:a16="http://schemas.microsoft.com/office/drawing/2014/main" id="{FB02B432-9295-4190-B7F8-005A38CC7EC3}"/>
              </a:ext>
            </a:extLst>
          </p:cNvPr>
          <p:cNvGrpSpPr/>
          <p:nvPr/>
        </p:nvGrpSpPr>
        <p:grpSpPr>
          <a:xfrm>
            <a:off x="7247896" y="2462407"/>
            <a:ext cx="180000" cy="180000"/>
            <a:chOff x="1881471" y="5042531"/>
            <a:chExt cx="180000" cy="180000"/>
          </a:xfrm>
        </p:grpSpPr>
        <p:sp>
          <p:nvSpPr>
            <p:cNvPr id="2171" name="Rectangle 2170">
              <a:extLst>
                <a:ext uri="{FF2B5EF4-FFF2-40B4-BE49-F238E27FC236}">
                  <a16:creationId xmlns:a16="http://schemas.microsoft.com/office/drawing/2014/main" id="{F37B6473-F990-2ADB-95F0-1AB8D77E55A4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72" name="Rectangle 2171">
              <a:extLst>
                <a:ext uri="{FF2B5EF4-FFF2-40B4-BE49-F238E27FC236}">
                  <a16:creationId xmlns:a16="http://schemas.microsoft.com/office/drawing/2014/main" id="{964DB110-A969-4C97-1DE0-CDA3A12F710F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78" name="Group 2177">
            <a:extLst>
              <a:ext uri="{FF2B5EF4-FFF2-40B4-BE49-F238E27FC236}">
                <a16:creationId xmlns:a16="http://schemas.microsoft.com/office/drawing/2014/main" id="{C0EF2109-7F1D-D3D6-71C4-876AFB295E3E}"/>
              </a:ext>
            </a:extLst>
          </p:cNvPr>
          <p:cNvGrpSpPr/>
          <p:nvPr/>
        </p:nvGrpSpPr>
        <p:grpSpPr>
          <a:xfrm>
            <a:off x="7461485" y="2453416"/>
            <a:ext cx="180000" cy="180000"/>
            <a:chOff x="6259969" y="4044627"/>
            <a:chExt cx="180000" cy="180000"/>
          </a:xfrm>
        </p:grpSpPr>
        <p:sp>
          <p:nvSpPr>
            <p:cNvPr id="2176" name="Rectangle 2175">
              <a:extLst>
                <a:ext uri="{FF2B5EF4-FFF2-40B4-BE49-F238E27FC236}">
                  <a16:creationId xmlns:a16="http://schemas.microsoft.com/office/drawing/2014/main" id="{3856485D-6931-09F3-8FDB-9DD7325AECE8}"/>
                </a:ext>
              </a:extLst>
            </p:cNvPr>
            <p:cNvSpPr/>
            <p:nvPr/>
          </p:nvSpPr>
          <p:spPr>
            <a:xfrm>
              <a:off x="6259969" y="4044627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77" name="Rectangle 2176">
              <a:extLst>
                <a:ext uri="{FF2B5EF4-FFF2-40B4-BE49-F238E27FC236}">
                  <a16:creationId xmlns:a16="http://schemas.microsoft.com/office/drawing/2014/main" id="{ABBFBBF5-91EC-7747-38BE-DC32A16CEEED}"/>
                </a:ext>
              </a:extLst>
            </p:cNvPr>
            <p:cNvSpPr/>
            <p:nvPr/>
          </p:nvSpPr>
          <p:spPr>
            <a:xfrm>
              <a:off x="6311119" y="4098627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2185" name="Connector: Elbow 2184">
            <a:extLst>
              <a:ext uri="{FF2B5EF4-FFF2-40B4-BE49-F238E27FC236}">
                <a16:creationId xmlns:a16="http://schemas.microsoft.com/office/drawing/2014/main" id="{491E88D4-A35B-2ACE-0403-83B10FC7BC83}"/>
              </a:ext>
            </a:extLst>
          </p:cNvPr>
          <p:cNvCxnSpPr>
            <a:cxnSpLocks/>
            <a:stCxn id="2176" idx="2"/>
            <a:endCxn id="2165" idx="2"/>
          </p:cNvCxnSpPr>
          <p:nvPr/>
        </p:nvCxnSpPr>
        <p:spPr>
          <a:xfrm rot="5400000">
            <a:off x="5431552" y="1641973"/>
            <a:ext cx="1128491" cy="3111377"/>
          </a:xfrm>
          <a:prstGeom prst="bentConnector3">
            <a:avLst>
              <a:gd name="adj1" fmla="val 128360"/>
            </a:avLst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8" name="Connector: Elbow 2187">
            <a:extLst>
              <a:ext uri="{FF2B5EF4-FFF2-40B4-BE49-F238E27FC236}">
                <a16:creationId xmlns:a16="http://schemas.microsoft.com/office/drawing/2014/main" id="{C89B551D-FE44-8A69-979E-3B1C807A53F3}"/>
              </a:ext>
            </a:extLst>
          </p:cNvPr>
          <p:cNvCxnSpPr>
            <a:cxnSpLocks/>
            <a:stCxn id="2171" idx="1"/>
            <a:endCxn id="2166" idx="2"/>
          </p:cNvCxnSpPr>
          <p:nvPr/>
        </p:nvCxnSpPr>
        <p:spPr>
          <a:xfrm rot="10800000" flipV="1">
            <a:off x="4244896" y="2552407"/>
            <a:ext cx="3003000" cy="1210254"/>
          </a:xfrm>
          <a:prstGeom prst="bentConnector4">
            <a:avLst>
              <a:gd name="adj1" fmla="val -2756"/>
              <a:gd name="adj2" fmla="val 133370"/>
            </a:avLst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1" name="Connector: Elbow 2190">
            <a:extLst>
              <a:ext uri="{FF2B5EF4-FFF2-40B4-BE49-F238E27FC236}">
                <a16:creationId xmlns:a16="http://schemas.microsoft.com/office/drawing/2014/main" id="{DC3272B5-81FA-3A1F-9041-AE6C70507301}"/>
              </a:ext>
            </a:extLst>
          </p:cNvPr>
          <p:cNvCxnSpPr>
            <a:cxnSpLocks/>
            <a:stCxn id="2100" idx="0"/>
            <a:endCxn id="2110" idx="0"/>
          </p:cNvCxnSpPr>
          <p:nvPr/>
        </p:nvCxnSpPr>
        <p:spPr>
          <a:xfrm rot="16200000" flipV="1">
            <a:off x="5165172" y="1681515"/>
            <a:ext cx="33852" cy="3882972"/>
          </a:xfrm>
          <a:prstGeom prst="bentConnector3">
            <a:avLst>
              <a:gd name="adj1" fmla="val 381372"/>
            </a:avLst>
          </a:prstGeom>
          <a:ln w="762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2198" name="Group 2197">
            <a:extLst>
              <a:ext uri="{FF2B5EF4-FFF2-40B4-BE49-F238E27FC236}">
                <a16:creationId xmlns:a16="http://schemas.microsoft.com/office/drawing/2014/main" id="{DCBEE801-DC1F-DC2B-051E-C9100EA45CEF}"/>
              </a:ext>
            </a:extLst>
          </p:cNvPr>
          <p:cNvGrpSpPr/>
          <p:nvPr/>
        </p:nvGrpSpPr>
        <p:grpSpPr>
          <a:xfrm>
            <a:off x="6683039" y="3005877"/>
            <a:ext cx="180000" cy="180000"/>
            <a:chOff x="1881471" y="5042531"/>
            <a:chExt cx="180000" cy="180000"/>
          </a:xfrm>
        </p:grpSpPr>
        <p:sp>
          <p:nvSpPr>
            <p:cNvPr id="2199" name="Rectangle 2198">
              <a:extLst>
                <a:ext uri="{FF2B5EF4-FFF2-40B4-BE49-F238E27FC236}">
                  <a16:creationId xmlns:a16="http://schemas.microsoft.com/office/drawing/2014/main" id="{31AA3AEF-FF91-CF42-A57F-76EDB35FA344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200" name="Rectangle 2199">
              <a:extLst>
                <a:ext uri="{FF2B5EF4-FFF2-40B4-BE49-F238E27FC236}">
                  <a16:creationId xmlns:a16="http://schemas.microsoft.com/office/drawing/2014/main" id="{2EFEE0E9-81B7-6B1C-A584-72DB9F22E058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201" name="Group 2200">
            <a:extLst>
              <a:ext uri="{FF2B5EF4-FFF2-40B4-BE49-F238E27FC236}">
                <a16:creationId xmlns:a16="http://schemas.microsoft.com/office/drawing/2014/main" id="{7458E969-DB16-B12F-6F5E-48F5D9FA249A}"/>
              </a:ext>
            </a:extLst>
          </p:cNvPr>
          <p:cNvGrpSpPr/>
          <p:nvPr/>
        </p:nvGrpSpPr>
        <p:grpSpPr>
          <a:xfrm>
            <a:off x="6873929" y="2789266"/>
            <a:ext cx="180000" cy="180000"/>
            <a:chOff x="1881471" y="5042531"/>
            <a:chExt cx="180000" cy="180000"/>
          </a:xfrm>
        </p:grpSpPr>
        <p:sp>
          <p:nvSpPr>
            <p:cNvPr id="2202" name="Rectangle 2201">
              <a:extLst>
                <a:ext uri="{FF2B5EF4-FFF2-40B4-BE49-F238E27FC236}">
                  <a16:creationId xmlns:a16="http://schemas.microsoft.com/office/drawing/2014/main" id="{0A923683-90C5-624F-A968-5F8EBB0641F1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203" name="Rectangle 2202">
              <a:extLst>
                <a:ext uri="{FF2B5EF4-FFF2-40B4-BE49-F238E27FC236}">
                  <a16:creationId xmlns:a16="http://schemas.microsoft.com/office/drawing/2014/main" id="{D69A8A64-6B09-E587-1CEB-A71BD5AA75EA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sp>
        <p:nvSpPr>
          <p:cNvPr id="2205" name="TextBox 2204">
            <a:extLst>
              <a:ext uri="{FF2B5EF4-FFF2-40B4-BE49-F238E27FC236}">
                <a16:creationId xmlns:a16="http://schemas.microsoft.com/office/drawing/2014/main" id="{F0A46A12-7D36-2E4A-BEAF-4B1973041AF2}"/>
              </a:ext>
            </a:extLst>
          </p:cNvPr>
          <p:cNvSpPr txBox="1"/>
          <p:nvPr/>
        </p:nvSpPr>
        <p:spPr>
          <a:xfrm>
            <a:off x="6494387" y="2181391"/>
            <a:ext cx="18483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1400" dirty="0">
                <a:solidFill>
                  <a:srgbClr val="FF0000"/>
                </a:solidFill>
              </a:rPr>
              <a:t>x</a:t>
            </a:r>
          </a:p>
        </p:txBody>
      </p:sp>
      <p:grpSp>
        <p:nvGrpSpPr>
          <p:cNvPr id="2207" name="Group 2206">
            <a:extLst>
              <a:ext uri="{FF2B5EF4-FFF2-40B4-BE49-F238E27FC236}">
                <a16:creationId xmlns:a16="http://schemas.microsoft.com/office/drawing/2014/main" id="{C70F264A-D21E-74B9-29D0-A0A7AB9C1B8E}"/>
              </a:ext>
            </a:extLst>
          </p:cNvPr>
          <p:cNvGrpSpPr/>
          <p:nvPr/>
        </p:nvGrpSpPr>
        <p:grpSpPr>
          <a:xfrm>
            <a:off x="4705710" y="4374803"/>
            <a:ext cx="180000" cy="512422"/>
            <a:chOff x="3929254" y="2202616"/>
            <a:chExt cx="180000" cy="512422"/>
          </a:xfrm>
        </p:grpSpPr>
        <p:grpSp>
          <p:nvGrpSpPr>
            <p:cNvPr id="2208" name="Group 2207">
              <a:extLst>
                <a:ext uri="{FF2B5EF4-FFF2-40B4-BE49-F238E27FC236}">
                  <a16:creationId xmlns:a16="http://schemas.microsoft.com/office/drawing/2014/main" id="{216A0090-A960-4604-1CCF-B00C39460693}"/>
                </a:ext>
              </a:extLst>
            </p:cNvPr>
            <p:cNvGrpSpPr/>
            <p:nvPr/>
          </p:nvGrpSpPr>
          <p:grpSpPr>
            <a:xfrm>
              <a:off x="3929254" y="2202616"/>
              <a:ext cx="180000" cy="180000"/>
              <a:chOff x="4146748" y="2201148"/>
              <a:chExt cx="180000" cy="180000"/>
            </a:xfrm>
          </p:grpSpPr>
          <p:sp>
            <p:nvSpPr>
              <p:cNvPr id="2210" name="Rectangle 2209">
                <a:extLst>
                  <a:ext uri="{FF2B5EF4-FFF2-40B4-BE49-F238E27FC236}">
                    <a16:creationId xmlns:a16="http://schemas.microsoft.com/office/drawing/2014/main" id="{0BA5AEFF-3579-1C70-3B60-9CD5F2143E0F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213" name="Rectangle 2212">
                <a:extLst>
                  <a:ext uri="{FF2B5EF4-FFF2-40B4-BE49-F238E27FC236}">
                    <a16:creationId xmlns:a16="http://schemas.microsoft.com/office/drawing/2014/main" id="{D39CCA3D-C1C3-AE7C-DC1F-70E88FBE181B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  <p:sp>
          <p:nvSpPr>
            <p:cNvPr id="2209" name="TextBox 2208">
              <a:extLst>
                <a:ext uri="{FF2B5EF4-FFF2-40B4-BE49-F238E27FC236}">
                  <a16:creationId xmlns:a16="http://schemas.microsoft.com/office/drawing/2014/main" id="{B3E05185-46FB-9B79-E1DC-5A0CCE11CB0E}"/>
                </a:ext>
              </a:extLst>
            </p:cNvPr>
            <p:cNvSpPr txBox="1"/>
            <p:nvPr/>
          </p:nvSpPr>
          <p:spPr>
            <a:xfrm rot="16200000">
              <a:off x="3862353" y="2476411"/>
              <a:ext cx="307976" cy="169277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TOP</a:t>
              </a:r>
            </a:p>
          </p:txBody>
        </p:sp>
      </p:grpSp>
      <p:cxnSp>
        <p:nvCxnSpPr>
          <p:cNvPr id="2217" name="Connector: Elbow 2216">
            <a:extLst>
              <a:ext uri="{FF2B5EF4-FFF2-40B4-BE49-F238E27FC236}">
                <a16:creationId xmlns:a16="http://schemas.microsoft.com/office/drawing/2014/main" id="{A9018F20-AE16-396E-30CB-06FABAA3108A}"/>
              </a:ext>
            </a:extLst>
          </p:cNvPr>
          <p:cNvCxnSpPr>
            <a:cxnSpLocks/>
          </p:cNvCxnSpPr>
          <p:nvPr/>
        </p:nvCxnSpPr>
        <p:spPr>
          <a:xfrm rot="10800000">
            <a:off x="4789587" y="4298416"/>
            <a:ext cx="1974931" cy="194727"/>
          </a:xfrm>
          <a:prstGeom prst="bentConnector3">
            <a:avLst>
              <a:gd name="adj1" fmla="val 50000"/>
            </a:avLst>
          </a:prstGeom>
          <a:ln w="7620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230" name="Connector: Elbow 2229">
            <a:extLst>
              <a:ext uri="{FF2B5EF4-FFF2-40B4-BE49-F238E27FC236}">
                <a16:creationId xmlns:a16="http://schemas.microsoft.com/office/drawing/2014/main" id="{30352CA5-C389-A3F2-CCBD-DBFE51B1F9D9}"/>
              </a:ext>
            </a:extLst>
          </p:cNvPr>
          <p:cNvCxnSpPr>
            <a:cxnSpLocks/>
            <a:stCxn id="2240" idx="0"/>
            <a:endCxn id="2237" idx="0"/>
          </p:cNvCxnSpPr>
          <p:nvPr/>
        </p:nvCxnSpPr>
        <p:spPr>
          <a:xfrm rot="16200000" flipH="1" flipV="1">
            <a:off x="5152224" y="2579337"/>
            <a:ext cx="504366" cy="3128520"/>
          </a:xfrm>
          <a:prstGeom prst="bentConnector3">
            <a:avLst>
              <a:gd name="adj1" fmla="val -16052"/>
            </a:avLst>
          </a:prstGeom>
          <a:ln w="7620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2234" name="Group 2233">
            <a:extLst>
              <a:ext uri="{FF2B5EF4-FFF2-40B4-BE49-F238E27FC236}">
                <a16:creationId xmlns:a16="http://schemas.microsoft.com/office/drawing/2014/main" id="{7F6FA244-0F84-6217-BBB5-36D67D85E6DB}"/>
              </a:ext>
            </a:extLst>
          </p:cNvPr>
          <p:cNvGrpSpPr/>
          <p:nvPr/>
        </p:nvGrpSpPr>
        <p:grpSpPr>
          <a:xfrm>
            <a:off x="3750147" y="4395780"/>
            <a:ext cx="180000" cy="512422"/>
            <a:chOff x="3929254" y="2202616"/>
            <a:chExt cx="180000" cy="512422"/>
          </a:xfrm>
        </p:grpSpPr>
        <p:grpSp>
          <p:nvGrpSpPr>
            <p:cNvPr id="2235" name="Group 2234">
              <a:extLst>
                <a:ext uri="{FF2B5EF4-FFF2-40B4-BE49-F238E27FC236}">
                  <a16:creationId xmlns:a16="http://schemas.microsoft.com/office/drawing/2014/main" id="{BADE1D4C-D598-2888-07DF-896CCDAC6B81}"/>
                </a:ext>
              </a:extLst>
            </p:cNvPr>
            <p:cNvGrpSpPr/>
            <p:nvPr/>
          </p:nvGrpSpPr>
          <p:grpSpPr>
            <a:xfrm>
              <a:off x="3929254" y="2202616"/>
              <a:ext cx="180000" cy="180000"/>
              <a:chOff x="4146748" y="2201148"/>
              <a:chExt cx="180000" cy="180000"/>
            </a:xfrm>
          </p:grpSpPr>
          <p:sp>
            <p:nvSpPr>
              <p:cNvPr id="2237" name="Rectangle 2236">
                <a:extLst>
                  <a:ext uri="{FF2B5EF4-FFF2-40B4-BE49-F238E27FC236}">
                    <a16:creationId xmlns:a16="http://schemas.microsoft.com/office/drawing/2014/main" id="{57F54022-0571-DBB7-9FCE-79FE3C54880B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238" name="Rectangle 2237">
                <a:extLst>
                  <a:ext uri="{FF2B5EF4-FFF2-40B4-BE49-F238E27FC236}">
                    <a16:creationId xmlns:a16="http://schemas.microsoft.com/office/drawing/2014/main" id="{82F8B579-09A6-307A-58CD-664D344B3F19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  <p:sp>
          <p:nvSpPr>
            <p:cNvPr id="2236" name="TextBox 2235">
              <a:extLst>
                <a:ext uri="{FF2B5EF4-FFF2-40B4-BE49-F238E27FC236}">
                  <a16:creationId xmlns:a16="http://schemas.microsoft.com/office/drawing/2014/main" id="{365480E1-AFB5-3D3A-43A3-31CABC50B1CA}"/>
                </a:ext>
              </a:extLst>
            </p:cNvPr>
            <p:cNvSpPr txBox="1"/>
            <p:nvPr/>
          </p:nvSpPr>
          <p:spPr>
            <a:xfrm rot="16200000">
              <a:off x="3862353" y="2476411"/>
              <a:ext cx="307976" cy="169277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Poti</a:t>
              </a:r>
            </a:p>
          </p:txBody>
        </p:sp>
      </p:grpSp>
      <p:sp>
        <p:nvSpPr>
          <p:cNvPr id="2240" name="Rectangle 2239">
            <a:extLst>
              <a:ext uri="{FF2B5EF4-FFF2-40B4-BE49-F238E27FC236}">
                <a16:creationId xmlns:a16="http://schemas.microsoft.com/office/drawing/2014/main" id="{FA0460A1-580B-E336-60F4-18036B0827DB}"/>
              </a:ext>
            </a:extLst>
          </p:cNvPr>
          <p:cNvSpPr/>
          <p:nvPr/>
        </p:nvSpPr>
        <p:spPr>
          <a:xfrm>
            <a:off x="6878667" y="3891414"/>
            <a:ext cx="180000" cy="180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sp>
        <p:nvSpPr>
          <p:cNvPr id="2241" name="Rectangle 2240">
            <a:extLst>
              <a:ext uri="{FF2B5EF4-FFF2-40B4-BE49-F238E27FC236}">
                <a16:creationId xmlns:a16="http://schemas.microsoft.com/office/drawing/2014/main" id="{991754D4-806F-C695-3670-4B2C0D43DF11}"/>
              </a:ext>
            </a:extLst>
          </p:cNvPr>
          <p:cNvSpPr/>
          <p:nvPr/>
        </p:nvSpPr>
        <p:spPr>
          <a:xfrm>
            <a:off x="6929754" y="3946168"/>
            <a:ext cx="72000" cy="72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576BE37-2A4A-00DA-A316-88D22307EAF1}"/>
              </a:ext>
            </a:extLst>
          </p:cNvPr>
          <p:cNvGrpSpPr/>
          <p:nvPr/>
        </p:nvGrpSpPr>
        <p:grpSpPr>
          <a:xfrm>
            <a:off x="4154896" y="3577517"/>
            <a:ext cx="569904" cy="498667"/>
            <a:chOff x="4126228" y="4382415"/>
            <a:chExt cx="569904" cy="498667"/>
          </a:xfrm>
        </p:grpSpPr>
        <p:grpSp>
          <p:nvGrpSpPr>
            <p:cNvPr id="2162" name="Group 2161">
              <a:extLst>
                <a:ext uri="{FF2B5EF4-FFF2-40B4-BE49-F238E27FC236}">
                  <a16:creationId xmlns:a16="http://schemas.microsoft.com/office/drawing/2014/main" id="{6FA624FF-CABA-520B-DF74-ABC0C4A88A33}"/>
                </a:ext>
              </a:extLst>
            </p:cNvPr>
            <p:cNvGrpSpPr/>
            <p:nvPr/>
          </p:nvGrpSpPr>
          <p:grpSpPr>
            <a:xfrm>
              <a:off x="4126228" y="4386805"/>
              <a:ext cx="567079" cy="494277"/>
              <a:chOff x="3734042" y="2202616"/>
              <a:chExt cx="567079" cy="494277"/>
            </a:xfrm>
          </p:grpSpPr>
          <p:grpSp>
            <p:nvGrpSpPr>
              <p:cNvPr id="2163" name="Group 2162">
                <a:extLst>
                  <a:ext uri="{FF2B5EF4-FFF2-40B4-BE49-F238E27FC236}">
                    <a16:creationId xmlns:a16="http://schemas.microsoft.com/office/drawing/2014/main" id="{E25C7A85-9BE8-14D0-6890-C49255BC1A28}"/>
                  </a:ext>
                </a:extLst>
              </p:cNvPr>
              <p:cNvGrpSpPr/>
              <p:nvPr/>
            </p:nvGrpSpPr>
            <p:grpSpPr>
              <a:xfrm>
                <a:off x="3734042" y="2202616"/>
                <a:ext cx="375212" cy="180754"/>
                <a:chOff x="3951536" y="2201148"/>
                <a:chExt cx="375212" cy="180754"/>
              </a:xfrm>
            </p:grpSpPr>
            <p:sp>
              <p:nvSpPr>
                <p:cNvPr id="2165" name="Rectangle 2164">
                  <a:extLst>
                    <a:ext uri="{FF2B5EF4-FFF2-40B4-BE49-F238E27FC236}">
                      <a16:creationId xmlns:a16="http://schemas.microsoft.com/office/drawing/2014/main" id="{20CDC388-E239-5EC0-568C-FF1A9E9786E4}"/>
                    </a:ext>
                  </a:extLst>
                </p:cNvPr>
                <p:cNvSpPr/>
                <p:nvPr/>
              </p:nvSpPr>
              <p:spPr>
                <a:xfrm>
                  <a:off x="4146748" y="2201148"/>
                  <a:ext cx="180000" cy="18000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166" name="Rectangle 2165">
                  <a:extLst>
                    <a:ext uri="{FF2B5EF4-FFF2-40B4-BE49-F238E27FC236}">
                      <a16:creationId xmlns:a16="http://schemas.microsoft.com/office/drawing/2014/main" id="{E98D1468-53BE-3384-3C16-17A5BFC3783D}"/>
                    </a:ext>
                  </a:extLst>
                </p:cNvPr>
                <p:cNvSpPr/>
                <p:nvPr/>
              </p:nvSpPr>
              <p:spPr>
                <a:xfrm>
                  <a:off x="3951536" y="2201902"/>
                  <a:ext cx="180000" cy="18000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grpSp>
              <p:nvGrpSpPr>
                <p:cNvPr id="2167" name="Group 2166">
                  <a:extLst>
                    <a:ext uri="{FF2B5EF4-FFF2-40B4-BE49-F238E27FC236}">
                      <a16:creationId xmlns:a16="http://schemas.microsoft.com/office/drawing/2014/main" id="{06A961FC-DA13-DE17-D37F-97B36AC7C519}"/>
                    </a:ext>
                  </a:extLst>
                </p:cNvPr>
                <p:cNvGrpSpPr/>
                <p:nvPr/>
              </p:nvGrpSpPr>
              <p:grpSpPr>
                <a:xfrm>
                  <a:off x="4002686" y="2255902"/>
                  <a:ext cx="267149" cy="72000"/>
                  <a:chOff x="4002686" y="2255902"/>
                  <a:chExt cx="267149" cy="72000"/>
                </a:xfrm>
              </p:grpSpPr>
              <p:sp>
                <p:nvSpPr>
                  <p:cNvPr id="2168" name="Rectangle 2167">
                    <a:extLst>
                      <a:ext uri="{FF2B5EF4-FFF2-40B4-BE49-F238E27FC236}">
                        <a16:creationId xmlns:a16="http://schemas.microsoft.com/office/drawing/2014/main" id="{F16F9CFF-7163-338D-0AAA-5E1AB78DE0B5}"/>
                      </a:ext>
                    </a:extLst>
                  </p:cNvPr>
                  <p:cNvSpPr/>
                  <p:nvPr/>
                </p:nvSpPr>
                <p:spPr>
                  <a:xfrm>
                    <a:off x="4197835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  <p:sp>
                <p:nvSpPr>
                  <p:cNvPr id="2169" name="Rectangle 2168">
                    <a:extLst>
                      <a:ext uri="{FF2B5EF4-FFF2-40B4-BE49-F238E27FC236}">
                        <a16:creationId xmlns:a16="http://schemas.microsoft.com/office/drawing/2014/main" id="{3FCDCA8B-685B-FD15-809B-777D58FC2365}"/>
                      </a:ext>
                    </a:extLst>
                  </p:cNvPr>
                  <p:cNvSpPr/>
                  <p:nvPr/>
                </p:nvSpPr>
                <p:spPr>
                  <a:xfrm>
                    <a:off x="4002686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</p:grpSp>
          </p:grpSp>
          <p:sp>
            <p:nvSpPr>
              <p:cNvPr id="2164" name="TextBox 2163">
                <a:extLst>
                  <a:ext uri="{FF2B5EF4-FFF2-40B4-BE49-F238E27FC236}">
                    <a16:creationId xmlns:a16="http://schemas.microsoft.com/office/drawing/2014/main" id="{17334BA9-D28D-64B4-C5EF-A94312489B94}"/>
                  </a:ext>
                </a:extLst>
              </p:cNvPr>
              <p:cNvSpPr txBox="1"/>
              <p:nvPr/>
            </p:nvSpPr>
            <p:spPr>
              <a:xfrm rot="16200000">
                <a:off x="3867570" y="2263341"/>
                <a:ext cx="307976" cy="559127"/>
              </a:xfrm>
              <a:prstGeom prst="rect">
                <a:avLst/>
              </a:prstGeom>
              <a:solidFill>
                <a:srgbClr val="959595">
                  <a:alpha val="60000"/>
                </a:srgbClr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RX</a:t>
                </a:r>
              </a:p>
              <a:p>
                <a:pPr algn="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TX</a:t>
                </a:r>
              </a:p>
              <a:p>
                <a:pPr algn="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GND</a:t>
                </a:r>
              </a:p>
            </p:txBody>
          </p:sp>
        </p:grp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E73A3047-E251-AD87-A321-E0717F5BF3C4}"/>
                </a:ext>
              </a:extLst>
            </p:cNvPr>
            <p:cNvSpPr/>
            <p:nvPr/>
          </p:nvSpPr>
          <p:spPr>
            <a:xfrm>
              <a:off x="4516132" y="4382415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DDB6A25-B90B-8945-4744-91C5CADD9455}"/>
                </a:ext>
              </a:extLst>
            </p:cNvPr>
            <p:cNvSpPr/>
            <p:nvPr/>
          </p:nvSpPr>
          <p:spPr>
            <a:xfrm>
              <a:off x="4567219" y="4437169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D41388D-36C2-93E3-2F80-3105F624044F}"/>
              </a:ext>
            </a:extLst>
          </p:cNvPr>
          <p:cNvCxnSpPr>
            <a:cxnSpLocks/>
          </p:cNvCxnSpPr>
          <p:nvPr/>
        </p:nvCxnSpPr>
        <p:spPr>
          <a:xfrm flipH="1">
            <a:off x="4502372" y="4449780"/>
            <a:ext cx="119443" cy="605819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915226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SB_16zu9_Blau-Türkisblau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975" indent="-180975" algn="ctr">
          <a:spcBef>
            <a:spcPts val="200"/>
          </a:spcBef>
          <a:buFont typeface="Calibri" panose="020F0502020204030204" pitchFamily="34" charset="0"/>
          <a:buChar char="▪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spcBef>
            <a:spcPts val="200"/>
          </a:spcBef>
          <a:buClr>
            <a:schemeClr val="bg2"/>
          </a:buClr>
          <a:buFont typeface="Wingdings" panose="05000000000000000000" pitchFamily="2" charset="2"/>
          <a:buChar char="§"/>
          <a:defRPr sz="1400" dirty="0" err="1" smtClean="0">
            <a:solidFill>
              <a:schemeClr val="bg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orkshopIdee-MiniKenterprise</Template>
  <TotalTime>0</TotalTime>
  <Words>71</Words>
  <Application>Microsoft Office PowerPoint</Application>
  <PresentationFormat>Widescreen</PresentationFormat>
  <Paragraphs>48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ptos</vt:lpstr>
      <vt:lpstr>Arial</vt:lpstr>
      <vt:lpstr>Calibri</vt:lpstr>
      <vt:lpstr>Symbol</vt:lpstr>
      <vt:lpstr>Wingdings</vt:lpstr>
      <vt:lpstr>HSB_16zu9_Blau-Türkisblau</vt:lpstr>
      <vt:lpstr>think-cell Folie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ni Kenterprise Bauplan</dc:title>
  <dc:creator>Jan Kettler</dc:creator>
  <cp:lastModifiedBy>Kettler, Jan</cp:lastModifiedBy>
  <cp:revision>22</cp:revision>
  <dcterms:created xsi:type="dcterms:W3CDTF">2021-10-11T10:06:39Z</dcterms:created>
  <dcterms:modified xsi:type="dcterms:W3CDTF">2025-06-08T08:13:08Z</dcterms:modified>
</cp:coreProperties>
</file>